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8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9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711" r:id="rId6"/>
    <p:sldMasterId id="2147483726" r:id="rId7"/>
    <p:sldMasterId id="2147483797" r:id="rId8"/>
    <p:sldMasterId id="2147483805" r:id="rId9"/>
    <p:sldMasterId id="2147483813" r:id="rId10"/>
    <p:sldMasterId id="2147483884" r:id="rId11"/>
  </p:sldMasterIdLst>
  <p:notesMasterIdLst>
    <p:notesMasterId r:id="rId17"/>
  </p:notesMasterIdLst>
  <p:sldIdLst>
    <p:sldId id="256" r:id="rId12"/>
    <p:sldId id="4405" r:id="rId13"/>
    <p:sldId id="4408" r:id="rId14"/>
    <p:sldId id="4406" r:id="rId15"/>
    <p:sldId id="4407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DB84BD-76C3-7E41-AC8D-7DA8DADD39D8}">
          <p14:sldIdLst>
            <p14:sldId id="256"/>
            <p14:sldId id="4405"/>
            <p14:sldId id="4408"/>
            <p14:sldId id="4406"/>
            <p14:sldId id="44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nyika, Arthur" initials="ZA" lastIdx="5" clrIdx="0">
    <p:extLst>
      <p:ext uri="{19B8F6BF-5375-455C-9EA6-DF929625EA0E}">
        <p15:presenceInfo xmlns:p15="http://schemas.microsoft.com/office/powerpoint/2012/main" userId="S::azaranyi@visa.com::557b3a4d-115c-4812-9951-a7cfe292092e" providerId="AD"/>
      </p:ext>
    </p:extLst>
  </p:cmAuthor>
  <p:cmAuthor id="2" name="Pulikara, Suresh" initials="PS" lastIdx="1" clrIdx="1">
    <p:extLst>
      <p:ext uri="{19B8F6BF-5375-455C-9EA6-DF929625EA0E}">
        <p15:presenceInfo xmlns:p15="http://schemas.microsoft.com/office/powerpoint/2012/main" userId="S::spulikar@visa.com::b919e65d-3211-4171-a37d-ae8ab026a1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14371C-6159-4056-A798-4727B6D2D090}" v="49" dt="2021-07-26T03:57:00.476"/>
    <p1510:client id="{39EBD5AC-C31B-4BA5-93A2-4142C10BE1BD}" v="152" dt="2021-07-27T01:05:38.981"/>
    <p1510:client id="{5852FA7F-B228-4861-967B-8C073F0BD3CF}" v="43" dt="2021-07-26T21:00:40.454"/>
    <p1510:client id="{5AC24BC9-C466-984D-8B2E-D64F9269FFCF}" v="11" dt="2021-07-27T03:02:57.354"/>
    <p1510:client id="{61C3A440-0311-4BF5-B706-A1AE147BD378}" v="1705" dt="2021-07-28T03:05:05.921"/>
    <p1510:client id="{63B82888-2B72-48BF-B7A2-3167A055A4E7}" v="9" dt="2021-07-26T05:10:52.169"/>
    <p1510:client id="{7DDBBED7-0653-439A-A4FA-04B205EFA29D}" v="14" dt="2021-07-27T02:59:38.611"/>
    <p1510:client id="{88772878-3A9F-477D-83B1-3678F5D3E2B9}" v="289" dt="2021-07-26T16:53:00.951"/>
    <p1510:client id="{8C1F1AC4-F245-448E-8E7F-3304E5342C0F}" v="3214" dt="2021-07-26T20:52:50.399"/>
    <p1510:client id="{8E22484D-9FAB-44DA-ADE5-1E93C5E9C4A3}" v="16" vWet="17" dt="2021-07-26T16:18:26.352"/>
    <p1510:client id="{A4F698E0-0D5A-714C-8514-E4BC9E412F87}" v="596" dt="2021-07-26T17:05:51.741"/>
    <p1510:client id="{D09B6AD0-B148-4785-ACA5-0F6331C2D5A0}" v="53" dt="2021-07-26T07:10:45.590"/>
    <p1510:client id="{D20DB085-BC21-471F-BA1D-52EEC423921F}" v="86" dt="2021-07-26T06:12:22.203"/>
    <p1510:client id="{DDD334A6-9127-4D4E-8212-EBBA72DA24C7}" v="146" dt="2021-07-26T05:19:28.896"/>
    <p1510:client id="{E1AE2D2E-75F7-47BC-ABBB-FDEC21CD0632}" v="444" dt="2021-07-27T02:49:20.520"/>
    <p1510:client id="{E6AEBAD0-0AD3-48AC-B0C7-38C97F7F2A49}" v="81" dt="2021-07-26T05:32:30.199"/>
    <p1510:client id="{F547965C-9D91-4353-96EB-762D940FC8C0}" v="8" dt="2021-07-26T05:14:11.160"/>
    <p1510:client id="{FF266914-E145-4581-A334-57DA811AFFB7}" v="16" dt="2021-07-27T03:04:29.1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01"/>
    <p:restoredTop sz="94694"/>
  </p:normalViewPr>
  <p:slideViewPr>
    <p:cSldViewPr snapToGrid="0">
      <p:cViewPr varScale="1">
        <p:scale>
          <a:sx n="121" d="100"/>
          <a:sy n="121" d="100"/>
        </p:scale>
        <p:origin x="8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E0B0A8-2826-42A6-8CE6-3717AB08FCF2}" type="datetimeFigureOut">
              <a:rPr lang="en-US" smtClean="0"/>
              <a:t>8/1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FA303-F9BD-4755-9BFF-8DCCD3E1B7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155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6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8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4.xml"/><Relationship Id="rId7" Type="http://schemas.openxmlformats.org/officeDocument/2006/relationships/image" Target="../media/image28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1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2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30.jpeg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3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6.xml"/><Relationship Id="rId7" Type="http://schemas.openxmlformats.org/officeDocument/2006/relationships/image" Target="../media/image28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30.jpeg"/><Relationship Id="rId4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7.bin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.bin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2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3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4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5.bin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6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.bin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9.bin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0.bin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1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2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3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4.bin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5.bin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B72E52E-5355-43BF-B125-7B898109AF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219129" y="3982141"/>
            <a:ext cx="3638583" cy="2483110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698766B-E17D-4DF1-B813-C7D61CB0C6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38422" y="1"/>
            <a:ext cx="8153579" cy="6857999"/>
          </a:xfrm>
          <a:custGeom>
            <a:avLst/>
            <a:gdLst>
              <a:gd name="connsiteX0" fmla="*/ 5680616 w 8153579"/>
              <a:gd name="connsiteY0" fmla="*/ 0 h 6857999"/>
              <a:gd name="connsiteX1" fmla="*/ 8153579 w 8153579"/>
              <a:gd name="connsiteY1" fmla="*/ 0 h 6857999"/>
              <a:gd name="connsiteX2" fmla="*/ 8153579 w 8153579"/>
              <a:gd name="connsiteY2" fmla="*/ 6857999 h 6857999"/>
              <a:gd name="connsiteX3" fmla="*/ 2532811 w 8153579"/>
              <a:gd name="connsiteY3" fmla="*/ 6857999 h 6857999"/>
              <a:gd name="connsiteX4" fmla="*/ 2637574 w 8153579"/>
              <a:gd name="connsiteY4" fmla="*/ 6500123 h 6857999"/>
              <a:gd name="connsiteX5" fmla="*/ 2525247 w 8153579"/>
              <a:gd name="connsiteY5" fmla="*/ 6857999 h 6857999"/>
              <a:gd name="connsiteX6" fmla="*/ 2264126 w 8153579"/>
              <a:gd name="connsiteY6" fmla="*/ 6857999 h 6857999"/>
              <a:gd name="connsiteX7" fmla="*/ 2626461 w 8153579"/>
              <a:gd name="connsiteY7" fmla="*/ 5701605 h 6857999"/>
              <a:gd name="connsiteX8" fmla="*/ 2244703 w 8153579"/>
              <a:gd name="connsiteY8" fmla="*/ 6857999 h 6857999"/>
              <a:gd name="connsiteX9" fmla="*/ 1994710 w 8153579"/>
              <a:gd name="connsiteY9" fmla="*/ 6857999 h 6857999"/>
              <a:gd name="connsiteX10" fmla="*/ 2563485 w 8153579"/>
              <a:gd name="connsiteY10" fmla="*/ 5142087 h 6857999"/>
              <a:gd name="connsiteX11" fmla="*/ 1953956 w 8153579"/>
              <a:gd name="connsiteY11" fmla="*/ 6857999 h 6857999"/>
              <a:gd name="connsiteX12" fmla="*/ 1713646 w 8153579"/>
              <a:gd name="connsiteY12" fmla="*/ 6857999 h 6857999"/>
              <a:gd name="connsiteX13" fmla="*/ 2452352 w 8153579"/>
              <a:gd name="connsiteY13" fmla="*/ 4788218 h 6857999"/>
              <a:gd name="connsiteX14" fmla="*/ 1649430 w 8153579"/>
              <a:gd name="connsiteY14" fmla="*/ 6857999 h 6857999"/>
              <a:gd name="connsiteX15" fmla="*/ 1424773 w 8153579"/>
              <a:gd name="connsiteY15" fmla="*/ 6857999 h 6857999"/>
              <a:gd name="connsiteX16" fmla="*/ 2296764 w 8153579"/>
              <a:gd name="connsiteY16" fmla="*/ 4610358 h 6857999"/>
              <a:gd name="connsiteX17" fmla="*/ 1338111 w 8153579"/>
              <a:gd name="connsiteY17" fmla="*/ 6857999 h 6857999"/>
              <a:gd name="connsiteX18" fmla="*/ 1125251 w 8153579"/>
              <a:gd name="connsiteY18" fmla="*/ 6857999 h 6857999"/>
              <a:gd name="connsiteX19" fmla="*/ 2100428 w 8153579"/>
              <a:gd name="connsiteY19" fmla="*/ 4571450 h 6857999"/>
              <a:gd name="connsiteX20" fmla="*/ 1022431 w 8153579"/>
              <a:gd name="connsiteY20" fmla="*/ 6824348 h 6857999"/>
              <a:gd name="connsiteX21" fmla="*/ 853878 w 8153579"/>
              <a:gd name="connsiteY21" fmla="*/ 6746535 h 6857999"/>
              <a:gd name="connsiteX22" fmla="*/ 1865195 w 8153579"/>
              <a:gd name="connsiteY22" fmla="*/ 4632589 h 6857999"/>
              <a:gd name="connsiteX23" fmla="*/ 787197 w 8153579"/>
              <a:gd name="connsiteY23" fmla="*/ 6590907 h 6857999"/>
              <a:gd name="connsiteX24" fmla="*/ 642723 w 8153579"/>
              <a:gd name="connsiteY24" fmla="*/ 6505682 h 6857999"/>
              <a:gd name="connsiteX25" fmla="*/ 1592918 w 8153579"/>
              <a:gd name="connsiteY25" fmla="*/ 4771544 h 6857999"/>
              <a:gd name="connsiteX26" fmla="*/ 559373 w 8153579"/>
              <a:gd name="connsiteY26" fmla="*/ 6355612 h 6857999"/>
              <a:gd name="connsiteX27" fmla="*/ 424160 w 8153579"/>
              <a:gd name="connsiteY27" fmla="*/ 6270387 h 6857999"/>
              <a:gd name="connsiteX28" fmla="*/ 1291003 w 8153579"/>
              <a:gd name="connsiteY28" fmla="*/ 4951256 h 6857999"/>
              <a:gd name="connsiteX29" fmla="*/ 324140 w 8153579"/>
              <a:gd name="connsiteY29" fmla="*/ 6125876 h 6857999"/>
              <a:gd name="connsiteX30" fmla="*/ 213006 w 8153579"/>
              <a:gd name="connsiteY30" fmla="*/ 6031387 h 6857999"/>
              <a:gd name="connsiteX31" fmla="*/ 955750 w 8153579"/>
              <a:gd name="connsiteY31" fmla="*/ 5130970 h 6857999"/>
              <a:gd name="connsiteX32" fmla="*/ 88907 w 8153579"/>
              <a:gd name="connsiteY32" fmla="*/ 5890582 h 6857999"/>
              <a:gd name="connsiteX33" fmla="*/ 0 w 8153579"/>
              <a:gd name="connsiteY33" fmla="*/ 5796093 h 6857999"/>
              <a:gd name="connsiteX34" fmla="*/ 2480135 w 8153579"/>
              <a:gd name="connsiteY34" fmla="*/ 3580249 h 6857999"/>
              <a:gd name="connsiteX35" fmla="*/ 2507919 w 8153579"/>
              <a:gd name="connsiteY35" fmla="*/ 3608040 h 6857999"/>
              <a:gd name="connsiteX36" fmla="*/ 2804276 w 8153579"/>
              <a:gd name="connsiteY36" fmla="*/ 3261583 h 6857999"/>
              <a:gd name="connsiteX37" fmla="*/ 2859841 w 8153579"/>
              <a:gd name="connsiteY37" fmla="*/ 3306048 h 6857999"/>
              <a:gd name="connsiteX38" fmla="*/ 3133972 w 8153579"/>
              <a:gd name="connsiteY38" fmla="*/ 2937359 h 6857999"/>
              <a:gd name="connsiteX39" fmla="*/ 3211765 w 8153579"/>
              <a:gd name="connsiteY39" fmla="*/ 2992940 h 6857999"/>
              <a:gd name="connsiteX40" fmla="*/ 3458113 w 8153579"/>
              <a:gd name="connsiteY40" fmla="*/ 2613135 h 6857999"/>
              <a:gd name="connsiteX41" fmla="*/ 3558132 w 8153579"/>
              <a:gd name="connsiteY41" fmla="*/ 2679832 h 6857999"/>
              <a:gd name="connsiteX42" fmla="*/ 3787808 w 8153579"/>
              <a:gd name="connsiteY42" fmla="*/ 2294468 h 6857999"/>
              <a:gd name="connsiteX43" fmla="*/ 3904499 w 8153579"/>
              <a:gd name="connsiteY43" fmla="*/ 2361165 h 6857999"/>
              <a:gd name="connsiteX44" fmla="*/ 4117507 w 8153579"/>
              <a:gd name="connsiteY44" fmla="*/ 1970244 h 6857999"/>
              <a:gd name="connsiteX45" fmla="*/ 4250867 w 8153579"/>
              <a:gd name="connsiteY45" fmla="*/ 2042499 h 6857999"/>
              <a:gd name="connsiteX46" fmla="*/ 4447203 w 8153579"/>
              <a:gd name="connsiteY46" fmla="*/ 1646018 h 6857999"/>
              <a:gd name="connsiteX47" fmla="*/ 4591677 w 8153579"/>
              <a:gd name="connsiteY47" fmla="*/ 1718275 h 6857999"/>
              <a:gd name="connsiteX48" fmla="*/ 4776899 w 8153579"/>
              <a:gd name="connsiteY48" fmla="*/ 1321795 h 6857999"/>
              <a:gd name="connsiteX49" fmla="*/ 4932486 w 8153579"/>
              <a:gd name="connsiteY49" fmla="*/ 1394050 h 6857999"/>
              <a:gd name="connsiteX50" fmla="*/ 5106596 w 8153579"/>
              <a:gd name="connsiteY50" fmla="*/ 997570 h 6857999"/>
              <a:gd name="connsiteX51" fmla="*/ 5267740 w 8153579"/>
              <a:gd name="connsiteY51" fmla="*/ 106982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8153579" h="6857999">
                <a:moveTo>
                  <a:pt x="5680616" y="0"/>
                </a:moveTo>
                <a:lnTo>
                  <a:pt x="8153579" y="0"/>
                </a:lnTo>
                <a:lnTo>
                  <a:pt x="8153579" y="6857999"/>
                </a:lnTo>
                <a:lnTo>
                  <a:pt x="2532811" y="6857999"/>
                </a:lnTo>
                <a:lnTo>
                  <a:pt x="2637574" y="6500123"/>
                </a:lnTo>
                <a:lnTo>
                  <a:pt x="2525247" y="6857999"/>
                </a:lnTo>
                <a:lnTo>
                  <a:pt x="2264126" y="6857999"/>
                </a:lnTo>
                <a:lnTo>
                  <a:pt x="2626461" y="5701605"/>
                </a:lnTo>
                <a:lnTo>
                  <a:pt x="2244703" y="6857999"/>
                </a:lnTo>
                <a:lnTo>
                  <a:pt x="1994710" y="6857999"/>
                </a:lnTo>
                <a:lnTo>
                  <a:pt x="2563485" y="5142087"/>
                </a:lnTo>
                <a:lnTo>
                  <a:pt x="1953956" y="6857999"/>
                </a:lnTo>
                <a:lnTo>
                  <a:pt x="1713646" y="6857999"/>
                </a:lnTo>
                <a:lnTo>
                  <a:pt x="2452352" y="4788218"/>
                </a:lnTo>
                <a:lnTo>
                  <a:pt x="1649430" y="6857999"/>
                </a:lnTo>
                <a:lnTo>
                  <a:pt x="1424773" y="6857999"/>
                </a:lnTo>
                <a:lnTo>
                  <a:pt x="2296764" y="4610358"/>
                </a:lnTo>
                <a:lnTo>
                  <a:pt x="1338111" y="6857999"/>
                </a:lnTo>
                <a:lnTo>
                  <a:pt x="1125251" y="6857999"/>
                </a:lnTo>
                <a:lnTo>
                  <a:pt x="2100428" y="4571450"/>
                </a:lnTo>
                <a:lnTo>
                  <a:pt x="1022431" y="6824348"/>
                </a:lnTo>
                <a:lnTo>
                  <a:pt x="853878" y="6746535"/>
                </a:lnTo>
                <a:lnTo>
                  <a:pt x="1865195" y="4632589"/>
                </a:lnTo>
                <a:lnTo>
                  <a:pt x="787197" y="6590907"/>
                </a:lnTo>
                <a:lnTo>
                  <a:pt x="642723" y="6505682"/>
                </a:lnTo>
                <a:lnTo>
                  <a:pt x="1592918" y="4771544"/>
                </a:lnTo>
                <a:lnTo>
                  <a:pt x="559373" y="6355612"/>
                </a:lnTo>
                <a:lnTo>
                  <a:pt x="424160" y="6270387"/>
                </a:lnTo>
                <a:lnTo>
                  <a:pt x="1291003" y="4951256"/>
                </a:lnTo>
                <a:lnTo>
                  <a:pt x="324140" y="6125876"/>
                </a:lnTo>
                <a:lnTo>
                  <a:pt x="213006" y="6031387"/>
                </a:lnTo>
                <a:lnTo>
                  <a:pt x="955750" y="5130970"/>
                </a:lnTo>
                <a:lnTo>
                  <a:pt x="88907" y="5890582"/>
                </a:lnTo>
                <a:lnTo>
                  <a:pt x="0" y="5796093"/>
                </a:lnTo>
                <a:lnTo>
                  <a:pt x="2480135" y="3580249"/>
                </a:lnTo>
                <a:lnTo>
                  <a:pt x="2507919" y="3608040"/>
                </a:lnTo>
                <a:lnTo>
                  <a:pt x="2804276" y="3261583"/>
                </a:lnTo>
                <a:lnTo>
                  <a:pt x="2859841" y="3306048"/>
                </a:lnTo>
                <a:lnTo>
                  <a:pt x="3133972" y="2937359"/>
                </a:lnTo>
                <a:lnTo>
                  <a:pt x="3211765" y="2992940"/>
                </a:lnTo>
                <a:lnTo>
                  <a:pt x="3458113" y="2613135"/>
                </a:lnTo>
                <a:lnTo>
                  <a:pt x="3558132" y="2679832"/>
                </a:lnTo>
                <a:lnTo>
                  <a:pt x="3787808" y="2294468"/>
                </a:lnTo>
                <a:lnTo>
                  <a:pt x="3904499" y="2361165"/>
                </a:lnTo>
                <a:lnTo>
                  <a:pt x="4117507" y="1970244"/>
                </a:lnTo>
                <a:lnTo>
                  <a:pt x="4250867" y="2042499"/>
                </a:lnTo>
                <a:lnTo>
                  <a:pt x="4447203" y="1646018"/>
                </a:lnTo>
                <a:lnTo>
                  <a:pt x="4591677" y="1718275"/>
                </a:lnTo>
                <a:lnTo>
                  <a:pt x="4776899" y="1321795"/>
                </a:lnTo>
                <a:lnTo>
                  <a:pt x="4932486" y="1394050"/>
                </a:lnTo>
                <a:lnTo>
                  <a:pt x="5106596" y="997570"/>
                </a:lnTo>
                <a:lnTo>
                  <a:pt x="5267740" y="10698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4846320" tIns="1463040" bIns="1463040" anchor="ctr">
            <a:noAutofit/>
          </a:bodyPr>
          <a:lstStyle>
            <a:lvl1pPr algn="l"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567C901-1246-4221-87E3-1561ACB728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63060" y="1638300"/>
            <a:ext cx="7448350" cy="98910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/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3A34663A-8630-4ACC-B51A-86DE1B76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63060" y="2781299"/>
            <a:ext cx="6278277" cy="304801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1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2"/>
                </a:solidFill>
              </a:defRPr>
            </a:lvl2pPr>
            <a:lvl3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3pPr>
            <a:lvl4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  <a:lvl6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6pPr>
            <a:lvl7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7pPr>
            <a:lvl8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8pPr>
            <a:lvl9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A5541EAD-E574-401D-8476-746E3B43F5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463060" y="3363017"/>
            <a:ext cx="6278277" cy="205684"/>
          </a:xfrm>
        </p:spPr>
        <p:txBody>
          <a:bodyPr wrap="square">
            <a:noAutofit/>
          </a:bodyPr>
          <a:lstStyle>
            <a:lvl1pPr marL="0" indent="0">
              <a:lnSpc>
                <a:spcPct val="90000"/>
              </a:lnSpc>
              <a:spcBef>
                <a:spcPts val="1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2"/>
                </a:solidFill>
              </a:defRPr>
            </a:lvl2pPr>
            <a:lvl3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3pPr>
            <a:lvl4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  <a:lvl6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6pPr>
            <a:lvl7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7pPr>
            <a:lvl8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8pPr>
            <a:lvl9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9pPr>
          </a:lstStyle>
          <a:p>
            <a:pPr lvl="1"/>
            <a:r>
              <a:rPr lang="en-US"/>
              <a:t>Click to edit text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833F65B-69E4-4F58-93D9-A5562A8A08C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4269" y="6157765"/>
            <a:ext cx="843917" cy="272735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994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28799"/>
            <a:ext cx="11280531" cy="43873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1398319"/>
            <a:ext cx="11256264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9C1736E-9D79-485F-9B7E-BA941FEEDD4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889" y="433113"/>
            <a:ext cx="11256264" cy="978729"/>
          </a:xfrm>
        </p:spPr>
        <p:txBody>
          <a:bodyPr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129676470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93" y="390526"/>
            <a:ext cx="10013420" cy="558166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1593" y="1597156"/>
            <a:ext cx="11240516" cy="1042337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60352" indent="-233351">
              <a:defRPr sz="2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628619" indent="-168266">
              <a:defRPr sz="20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4777668"/>
      </p:ext>
    </p:extLst>
  </p:cSld>
  <p:clrMapOvr>
    <a:masterClrMapping/>
  </p:clrMapOvr>
  <p:transition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558803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699885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0990731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brow 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493223"/>
            <a:ext cx="11582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923481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04801" y="213774"/>
            <a:ext cx="3093027" cy="166199"/>
          </a:xfrm>
        </p:spPr>
        <p:txBody>
          <a:bodyPr anchor="b"/>
          <a:lstStyle>
            <a:lvl1pPr marL="0" indent="0">
              <a:buNone/>
              <a:defRPr sz="1200" cap="all" baseline="0">
                <a:solidFill>
                  <a:schemeClr val="tx2"/>
                </a:solidFill>
              </a:defRPr>
            </a:lvl1pPr>
            <a:lvl2pPr marL="306900" indent="0">
              <a:buNone/>
              <a:defRPr sz="1100"/>
            </a:lvl2pPr>
            <a:lvl3pPr marL="644959" indent="0">
              <a:buNone/>
              <a:defRPr sz="1100"/>
            </a:lvl3pPr>
            <a:lvl4pPr marL="916472" indent="0">
              <a:buNone/>
              <a:defRPr sz="1100"/>
            </a:lvl4pPr>
            <a:lvl5pPr marL="1230144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074463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414272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396949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2"/>
            <a:ext cx="11582400" cy="55816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1414272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704090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0092245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188720"/>
            <a:ext cx="6096000" cy="2214068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6096000" cy="558166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684703" y="2109086"/>
            <a:ext cx="5514613" cy="2664039"/>
            <a:chOff x="5013526" y="1318509"/>
            <a:chExt cx="4135960" cy="2664039"/>
          </a:xfrm>
        </p:grpSpPr>
        <p:sp>
          <p:nvSpPr>
            <p:cNvPr id="13" name="Rectangle 21"/>
            <p:cNvSpPr>
              <a:spLocks noChangeArrowheads="1"/>
            </p:cNvSpPr>
            <p:nvPr/>
          </p:nvSpPr>
          <p:spPr bwMode="gray">
            <a:xfrm>
              <a:off x="5013526" y="2432533"/>
              <a:ext cx="150040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gray">
            <a:xfrm>
              <a:off x="6172200" y="1318509"/>
              <a:ext cx="2547518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7871155" y="1546283"/>
              <a:ext cx="127833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7871155" y="1546284"/>
              <a:ext cx="848563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gray">
            <a:xfrm>
              <a:off x="5920002" y="3540418"/>
              <a:ext cx="195359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6882385" y="3319352"/>
              <a:ext cx="183733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6882385" y="3547127"/>
              <a:ext cx="991209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9288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11582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00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50865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1188722"/>
            <a:ext cx="6096000" cy="5138365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8483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 and Two Right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3072384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201163" indent="-201163">
              <a:buNone/>
              <a:defRPr lang="en-US" sz="1600"/>
            </a:lvl1pPr>
          </a:lstStyle>
          <a:p>
            <a:pPr marL="0" lvl="0" indent="0"/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5480304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3254701"/>
            <a:ext cx="6096000" cy="3072384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201163" indent="-201163">
              <a:buNone/>
              <a:defRPr lang="en-US" sz="1600"/>
            </a:lvl1pPr>
          </a:lstStyle>
          <a:p>
            <a:pPr marL="0" lvl="0" indent="0"/>
            <a:r>
              <a:rPr lang="en-US"/>
              <a:t>Click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578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23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ullets and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BC87A-28E5-4CDF-A335-2D2700A4DF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128" y="1802119"/>
            <a:ext cx="5522571" cy="4293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7B2D7623-82D6-46A2-B453-FC8BADA2771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3631"/>
            <a:ext cx="5537811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F4615F32-D813-4AA8-AFF0-FBE56A9BF9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1F9E24-90C4-4370-A671-DD28EB0A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3"/>
            <a:ext cx="5537810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6D6CB87-C154-4E69-B8D2-1BE9D350D77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10301" y="455033"/>
            <a:ext cx="5526668" cy="5758876"/>
          </a:xfrm>
          <a:solidFill>
            <a:schemeClr val="tx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3228188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Large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2"/>
            <a:ext cx="6096000" cy="6327084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5480304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7246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ullets and Narrow Left Phot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346440" y="243841"/>
            <a:ext cx="8534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2"/>
            <a:ext cx="3047999" cy="6327085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46440" y="1527048"/>
            <a:ext cx="8534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8" hasCustomPrompt="1"/>
          </p:nvPr>
        </p:nvSpPr>
        <p:spPr>
          <a:xfrm>
            <a:off x="3352800" y="1042418"/>
            <a:ext cx="8534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18367502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ullets and Large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6096000" cy="6327085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400800" y="243841"/>
            <a:ext cx="5486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00800" y="1527048"/>
            <a:ext cx="5486400" cy="221406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8" hasCustomPrompt="1"/>
          </p:nvPr>
        </p:nvSpPr>
        <p:spPr>
          <a:xfrm>
            <a:off x="6400800" y="1042418"/>
            <a:ext cx="5486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851621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627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"/>
            <a:ext cx="6096000" cy="6327085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6400800" y="3222760"/>
            <a:ext cx="5486400" cy="418576"/>
          </a:xfrm>
        </p:spPr>
        <p:txBody>
          <a:bodyPr anchor="ctr"/>
          <a:lstStyle>
            <a:lvl1pPr algn="l">
              <a:spcBef>
                <a:spcPts val="10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695108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4800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183479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9635" y="180107"/>
            <a:ext cx="11588867" cy="387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89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2pPr>
            <a:lvl3pPr marL="914377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3pPr>
            <a:lvl4pPr marL="1371566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4pPr>
            <a:lvl5pPr marL="1828754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Process 1"/>
          <p:cNvSpPr/>
          <p:nvPr userDrawn="1"/>
        </p:nvSpPr>
        <p:spPr>
          <a:xfrm>
            <a:off x="0" y="180107"/>
            <a:ext cx="339635" cy="812671"/>
          </a:xfrm>
          <a:prstGeom prst="flowChart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ubtitle 2"/>
          <p:cNvSpPr txBox="1">
            <a:spLocks/>
          </p:cNvSpPr>
          <p:nvPr userDrawn="1"/>
        </p:nvSpPr>
        <p:spPr>
          <a:xfrm>
            <a:off x="236134" y="6561280"/>
            <a:ext cx="4899631" cy="2308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ED6633-62A5-BF48-8796-52C7CA6AEBF3}" type="slidenum">
              <a:rPr lang="en-US" sz="1000" b="0" i="0" noProof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‹#›</a:t>
            </a:fld>
            <a:r>
              <a:rPr lang="en-US" sz="1000" b="0" i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  |   Financial Institution and</a:t>
            </a:r>
            <a:r>
              <a:rPr lang="en-US" sz="1000" b="0" i="0" baseline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1000" b="0" i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Visa Partnership   |   Visa 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045" y="6563932"/>
            <a:ext cx="509699" cy="24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7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1" hasCustomPrompt="1"/>
          </p:nvPr>
        </p:nvSpPr>
        <p:spPr bwMode="gray">
          <a:xfrm>
            <a:off x="310799" y="557786"/>
            <a:ext cx="5564584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16994" y="932688"/>
            <a:ext cx="5558391" cy="265726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6328617" y="932688"/>
            <a:ext cx="5558391" cy="265726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6328615" y="557786"/>
            <a:ext cx="5564584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1029821565"/>
      </p:ext>
    </p:extLst>
  </p:cSld>
  <p:clrMapOvr>
    <a:masterClrMapping/>
  </p:clrMapOvr>
  <p:transition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 bwMode="gray">
          <a:xfrm>
            <a:off x="322093" y="1188720"/>
            <a:ext cx="11582400" cy="134703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16992" y="243841"/>
            <a:ext cx="11582400" cy="55816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992" y="680818"/>
            <a:ext cx="11582400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9571074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4800" y="3343933"/>
            <a:ext cx="5486400" cy="558166"/>
          </a:xfrm>
        </p:spPr>
        <p:txBody>
          <a:bodyPr anchor="b">
            <a:spAutoFit/>
          </a:bodyPr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22" name="Group 21"/>
          <p:cNvGrpSpPr/>
          <p:nvPr userDrawn="1"/>
        </p:nvGrpSpPr>
        <p:grpSpPr bwMode="gray">
          <a:xfrm>
            <a:off x="6535979" y="1346421"/>
            <a:ext cx="5666621" cy="928659"/>
            <a:chOff x="8900258" y="2764711"/>
            <a:chExt cx="2063436" cy="454637"/>
          </a:xfrm>
        </p:grpSpPr>
        <p:sp>
          <p:nvSpPr>
            <p:cNvPr id="23" name="Rectangle 21"/>
            <p:cNvSpPr>
              <a:spLocks noChangeArrowheads="1"/>
            </p:cNvSpPr>
            <p:nvPr/>
          </p:nvSpPr>
          <p:spPr bwMode="gray">
            <a:xfrm>
              <a:off x="9925902" y="2920622"/>
              <a:ext cx="1037792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8900258" y="2764711"/>
              <a:ext cx="1814113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gray">
            <a:xfrm>
              <a:off x="9925902" y="2917848"/>
              <a:ext cx="788461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4181857"/>
            <a:ext cx="54864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  <a:lvl2pPr marL="306908" indent="0">
              <a:buNone/>
              <a:defRPr/>
            </a:lvl2pPr>
            <a:lvl3pPr marL="644975" indent="0">
              <a:buNone/>
              <a:defRPr/>
            </a:lvl3pPr>
            <a:lvl4pPr marL="916493" indent="0">
              <a:buNone/>
              <a:defRPr/>
            </a:lvl4pPr>
            <a:lvl5pPr marL="1230176" indent="0">
              <a:buNone/>
              <a:defRPr/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4800" y="4576663"/>
            <a:ext cx="54864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9544" y="3174717"/>
            <a:ext cx="1973067" cy="6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07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245827"/>
            <a:ext cx="11582400" cy="55810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92272320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4FEFBD-DCC2-4275-B80C-667DA9EC9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4961" y="1143000"/>
            <a:ext cx="9022080" cy="3163892"/>
          </a:xfrm>
        </p:spPr>
        <p:txBody>
          <a:bodyPr anchor="b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47076A-408F-4112-B7BB-05EAEC61A4D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584959" y="4737102"/>
            <a:ext cx="6289039" cy="330196"/>
          </a:xfrm>
        </p:spPr>
        <p:txBody>
          <a:bodyPr anchor="t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1"/>
            <a:r>
              <a:rPr lang="en-US"/>
              <a:t>Second level</a:t>
            </a:r>
          </a:p>
        </p:txBody>
      </p:sp>
      <p:sp>
        <p:nvSpPr>
          <p:cNvPr id="45" name="Subtitle 1">
            <a:extLst>
              <a:ext uri="{FF2B5EF4-FFF2-40B4-BE49-F238E27FC236}">
                <a16:creationId xmlns:a16="http://schemas.microsoft.com/office/drawing/2014/main" id="{49F25AEF-6544-42CB-A543-B6858E0EC6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22BD154-4ED6-49BE-8144-5028C3310C16}"/>
              </a:ext>
            </a:extLst>
          </p:cNvPr>
          <p:cNvGrpSpPr/>
          <p:nvPr/>
        </p:nvGrpSpPr>
        <p:grpSpPr>
          <a:xfrm>
            <a:off x="683094" y="1437285"/>
            <a:ext cx="665169" cy="535375"/>
            <a:chOff x="3814503" y="701634"/>
            <a:chExt cx="655119" cy="527284"/>
          </a:xfrm>
          <a:solidFill>
            <a:schemeClr val="accent4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192AA70-4447-44BB-BFAB-C38103100E33}"/>
                </a:ext>
              </a:extLst>
            </p:cNvPr>
            <p:cNvSpPr/>
            <p:nvPr userDrawn="1"/>
          </p:nvSpPr>
          <p:spPr>
            <a:xfrm>
              <a:off x="3814503" y="701634"/>
              <a:ext cx="327883" cy="527284"/>
            </a:xfrm>
            <a:custGeom>
              <a:avLst/>
              <a:gdLst/>
              <a:ahLst/>
              <a:cxnLst/>
              <a:rect l="l" t="t" r="r" b="b"/>
              <a:pathLst>
                <a:path w="327883" h="527284">
                  <a:moveTo>
                    <a:pt x="278546" y="0"/>
                  </a:moveTo>
                  <a:cubicBezTo>
                    <a:pt x="289510" y="0"/>
                    <a:pt x="298589" y="514"/>
                    <a:pt x="305784" y="1542"/>
                  </a:cubicBezTo>
                  <a:cubicBezTo>
                    <a:pt x="312979" y="2570"/>
                    <a:pt x="318461" y="4283"/>
                    <a:pt x="322230" y="6681"/>
                  </a:cubicBezTo>
                  <a:cubicBezTo>
                    <a:pt x="325998" y="9079"/>
                    <a:pt x="327883" y="12334"/>
                    <a:pt x="327883" y="16446"/>
                  </a:cubicBezTo>
                  <a:cubicBezTo>
                    <a:pt x="327883" y="20557"/>
                    <a:pt x="326512" y="25353"/>
                    <a:pt x="323771" y="30835"/>
                  </a:cubicBezTo>
                  <a:lnTo>
                    <a:pt x="189124" y="313493"/>
                  </a:lnTo>
                  <a:lnTo>
                    <a:pt x="189124" y="443001"/>
                  </a:lnTo>
                  <a:cubicBezTo>
                    <a:pt x="189124" y="460817"/>
                    <a:pt x="187239" y="475207"/>
                    <a:pt x="183471" y="486170"/>
                  </a:cubicBezTo>
                  <a:cubicBezTo>
                    <a:pt x="179702" y="497134"/>
                    <a:pt x="173877" y="505700"/>
                    <a:pt x="165997" y="511867"/>
                  </a:cubicBezTo>
                  <a:cubicBezTo>
                    <a:pt x="158117" y="518034"/>
                    <a:pt x="148181" y="522145"/>
                    <a:pt x="136190" y="524201"/>
                  </a:cubicBezTo>
                  <a:cubicBezTo>
                    <a:pt x="124198" y="526256"/>
                    <a:pt x="109980" y="527284"/>
                    <a:pt x="93534" y="527284"/>
                  </a:cubicBezTo>
                  <a:cubicBezTo>
                    <a:pt x="77089" y="527284"/>
                    <a:pt x="63042" y="526256"/>
                    <a:pt x="51393" y="524201"/>
                  </a:cubicBezTo>
                  <a:cubicBezTo>
                    <a:pt x="39744" y="522145"/>
                    <a:pt x="30151" y="518034"/>
                    <a:pt x="22613" y="511867"/>
                  </a:cubicBezTo>
                  <a:cubicBezTo>
                    <a:pt x="15076" y="505700"/>
                    <a:pt x="9422" y="497134"/>
                    <a:pt x="5654" y="486170"/>
                  </a:cubicBezTo>
                  <a:cubicBezTo>
                    <a:pt x="1885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4" y="385956"/>
                  </a:cubicBezTo>
                  <a:cubicBezTo>
                    <a:pt x="5140" y="368482"/>
                    <a:pt x="8395" y="351866"/>
                    <a:pt x="12849" y="336105"/>
                  </a:cubicBezTo>
                  <a:cubicBezTo>
                    <a:pt x="17303" y="320345"/>
                    <a:pt x="23470" y="304756"/>
                    <a:pt x="31350" y="289338"/>
                  </a:cubicBezTo>
                  <a:cubicBezTo>
                    <a:pt x="39230" y="273921"/>
                    <a:pt x="48652" y="257646"/>
                    <a:pt x="59615" y="240516"/>
                  </a:cubicBezTo>
                  <a:lnTo>
                    <a:pt x="198374" y="29808"/>
                  </a:lnTo>
                  <a:cubicBezTo>
                    <a:pt x="201801" y="24326"/>
                    <a:pt x="205569" y="19872"/>
                    <a:pt x="209681" y="16446"/>
                  </a:cubicBezTo>
                  <a:cubicBezTo>
                    <a:pt x="213792" y="13019"/>
                    <a:pt x="218931" y="10107"/>
                    <a:pt x="225098" y="7709"/>
                  </a:cubicBezTo>
                  <a:cubicBezTo>
                    <a:pt x="231265" y="5311"/>
                    <a:pt x="238632" y="3426"/>
                    <a:pt x="247197" y="2056"/>
                  </a:cubicBezTo>
                  <a:cubicBezTo>
                    <a:pt x="255762" y="685"/>
                    <a:pt x="266212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23A1BEE-771C-45BD-89DA-51547CA07F02}"/>
                </a:ext>
              </a:extLst>
            </p:cNvPr>
            <p:cNvSpPr/>
            <p:nvPr userDrawn="1"/>
          </p:nvSpPr>
          <p:spPr>
            <a:xfrm>
              <a:off x="4141180" y="701634"/>
              <a:ext cx="328442" cy="527284"/>
            </a:xfrm>
            <a:custGeom>
              <a:avLst/>
              <a:gdLst/>
              <a:ahLst/>
              <a:cxnLst/>
              <a:rect l="l" t="t" r="r" b="b"/>
              <a:pathLst>
                <a:path w="328442" h="527284">
                  <a:moveTo>
                    <a:pt x="278546" y="0"/>
                  </a:moveTo>
                  <a:cubicBezTo>
                    <a:pt x="289509" y="0"/>
                    <a:pt x="298760" y="514"/>
                    <a:pt x="306297" y="1542"/>
                  </a:cubicBezTo>
                  <a:cubicBezTo>
                    <a:pt x="313835" y="2570"/>
                    <a:pt x="319317" y="4283"/>
                    <a:pt x="322743" y="6681"/>
                  </a:cubicBezTo>
                  <a:cubicBezTo>
                    <a:pt x="326169" y="9079"/>
                    <a:pt x="328053" y="12334"/>
                    <a:pt x="328396" y="16446"/>
                  </a:cubicBezTo>
                  <a:cubicBezTo>
                    <a:pt x="328739" y="20557"/>
                    <a:pt x="327197" y="25353"/>
                    <a:pt x="323771" y="30835"/>
                  </a:cubicBezTo>
                  <a:lnTo>
                    <a:pt x="189123" y="313493"/>
                  </a:lnTo>
                  <a:lnTo>
                    <a:pt x="189123" y="443001"/>
                  </a:lnTo>
                  <a:cubicBezTo>
                    <a:pt x="189123" y="460817"/>
                    <a:pt x="187239" y="475207"/>
                    <a:pt x="183470" y="486170"/>
                  </a:cubicBezTo>
                  <a:cubicBezTo>
                    <a:pt x="179701" y="497134"/>
                    <a:pt x="173877" y="505700"/>
                    <a:pt x="165997" y="511867"/>
                  </a:cubicBezTo>
                  <a:cubicBezTo>
                    <a:pt x="158116" y="518034"/>
                    <a:pt x="148181" y="522145"/>
                    <a:pt x="136189" y="524201"/>
                  </a:cubicBezTo>
                  <a:cubicBezTo>
                    <a:pt x="124198" y="526256"/>
                    <a:pt x="109979" y="527284"/>
                    <a:pt x="93534" y="527284"/>
                  </a:cubicBezTo>
                  <a:cubicBezTo>
                    <a:pt x="77088" y="527284"/>
                    <a:pt x="63041" y="526256"/>
                    <a:pt x="51392" y="524201"/>
                  </a:cubicBezTo>
                  <a:cubicBezTo>
                    <a:pt x="39743" y="522145"/>
                    <a:pt x="30150" y="518034"/>
                    <a:pt x="22612" y="511867"/>
                  </a:cubicBezTo>
                  <a:cubicBezTo>
                    <a:pt x="15075" y="505700"/>
                    <a:pt x="9422" y="497134"/>
                    <a:pt x="5653" y="486170"/>
                  </a:cubicBezTo>
                  <a:cubicBezTo>
                    <a:pt x="1884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3" y="385956"/>
                  </a:cubicBezTo>
                  <a:cubicBezTo>
                    <a:pt x="5139" y="368482"/>
                    <a:pt x="8394" y="351866"/>
                    <a:pt x="12848" y="336105"/>
                  </a:cubicBezTo>
                  <a:cubicBezTo>
                    <a:pt x="17302" y="320345"/>
                    <a:pt x="23469" y="304756"/>
                    <a:pt x="31349" y="289338"/>
                  </a:cubicBezTo>
                  <a:cubicBezTo>
                    <a:pt x="39229" y="273921"/>
                    <a:pt x="48651" y="257646"/>
                    <a:pt x="59615" y="240516"/>
                  </a:cubicBezTo>
                  <a:lnTo>
                    <a:pt x="198374" y="29808"/>
                  </a:lnTo>
                  <a:cubicBezTo>
                    <a:pt x="201800" y="24326"/>
                    <a:pt x="205569" y="19872"/>
                    <a:pt x="209680" y="16446"/>
                  </a:cubicBezTo>
                  <a:cubicBezTo>
                    <a:pt x="213791" y="13019"/>
                    <a:pt x="218931" y="10107"/>
                    <a:pt x="225098" y="7709"/>
                  </a:cubicBezTo>
                  <a:cubicBezTo>
                    <a:pt x="231265" y="5311"/>
                    <a:pt x="238631" y="3426"/>
                    <a:pt x="247196" y="2056"/>
                  </a:cubicBezTo>
                  <a:cubicBezTo>
                    <a:pt x="255762" y="685"/>
                    <a:pt x="266211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58165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0971345"/>
      </p:ext>
    </p:extLst>
  </p:cSld>
  <p:clrMapOvr>
    <a:masterClrMapping/>
  </p:clrMapOvr>
  <p:transition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404475"/>
      </p:ext>
    </p:extLst>
  </p:cSld>
  <p:clrMapOvr>
    <a:masterClrMapping/>
  </p:clrMapOvr>
  <p:transition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685802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  <a:lvl2pPr marL="230172" indent="0">
              <a:buNone/>
              <a:defRPr/>
            </a:lvl2pPr>
            <a:lvl3pPr marL="483712" indent="0">
              <a:buNone/>
              <a:defRPr/>
            </a:lvl3pPr>
            <a:lvl4pPr marL="687341" indent="0">
              <a:buNone/>
              <a:defRPr/>
            </a:lvl4pPr>
            <a:lvl5pPr marL="922596" indent="0">
              <a:buNone/>
              <a:defRPr/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11582400" cy="558101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92876"/>
            <a:ext cx="37795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C19C67A3-BED2-284C-B277-97C0CD92F6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10001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1642985" y="2501617"/>
            <a:ext cx="4860996" cy="334151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861527" y="2501617"/>
            <a:ext cx="4860996" cy="334151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57001" y="1310602"/>
            <a:ext cx="4632960" cy="332399"/>
          </a:xfrm>
        </p:spPr>
        <p:txBody>
          <a:bodyPr anchor="b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75544" y="1310602"/>
            <a:ext cx="4632960" cy="332399"/>
          </a:xfrm>
        </p:spPr>
        <p:txBody>
          <a:bodyPr anchor="b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592907" y="601430"/>
            <a:ext cx="12784907" cy="1159383"/>
            <a:chOff x="-92255" y="1599774"/>
            <a:chExt cx="9588680" cy="869537"/>
          </a:xfrm>
        </p:grpSpPr>
        <p:grpSp>
          <p:nvGrpSpPr>
            <p:cNvPr id="10" name="Group 9"/>
            <p:cNvGrpSpPr/>
            <p:nvPr/>
          </p:nvGrpSpPr>
          <p:grpSpPr>
            <a:xfrm>
              <a:off x="-92255" y="1599774"/>
              <a:ext cx="1783573" cy="869537"/>
              <a:chOff x="-92255" y="2095074"/>
              <a:chExt cx="1783573" cy="869537"/>
            </a:xfrm>
          </p:grpSpPr>
          <p:sp>
            <p:nvSpPr>
              <p:cNvPr id="12" name="Freeform 85"/>
              <p:cNvSpPr>
                <a:spLocks noEditPoints="1"/>
              </p:cNvSpPr>
              <p:nvPr/>
            </p:nvSpPr>
            <p:spPr bwMode="auto">
              <a:xfrm>
                <a:off x="-22119" y="2744399"/>
                <a:ext cx="1567131" cy="205129"/>
              </a:xfrm>
              <a:custGeom>
                <a:avLst/>
                <a:gdLst>
                  <a:gd name="T0" fmla="*/ 1523 w 1589"/>
                  <a:gd name="T1" fmla="*/ 57 h 207"/>
                  <a:gd name="T2" fmla="*/ 1335 w 1589"/>
                  <a:gd name="T3" fmla="*/ 57 h 207"/>
                  <a:gd name="T4" fmla="*/ 1294 w 1589"/>
                  <a:gd name="T5" fmla="*/ 98 h 207"/>
                  <a:gd name="T6" fmla="*/ 1294 w 1589"/>
                  <a:gd name="T7" fmla="*/ 166 h 207"/>
                  <a:gd name="T8" fmla="*/ 1258 w 1589"/>
                  <a:gd name="T9" fmla="*/ 203 h 207"/>
                  <a:gd name="T10" fmla="*/ 1076 w 1589"/>
                  <a:gd name="T11" fmla="*/ 203 h 207"/>
                  <a:gd name="T12" fmla="*/ 1077 w 1589"/>
                  <a:gd name="T13" fmla="*/ 207 h 207"/>
                  <a:gd name="T14" fmla="*/ 1077 w 1589"/>
                  <a:gd name="T15" fmla="*/ 207 h 207"/>
                  <a:gd name="T16" fmla="*/ 1258 w 1589"/>
                  <a:gd name="T17" fmla="*/ 207 h 207"/>
                  <a:gd name="T18" fmla="*/ 1298 w 1589"/>
                  <a:gd name="T19" fmla="*/ 166 h 207"/>
                  <a:gd name="T20" fmla="*/ 1298 w 1589"/>
                  <a:gd name="T21" fmla="*/ 98 h 207"/>
                  <a:gd name="T22" fmla="*/ 1335 w 1589"/>
                  <a:gd name="T23" fmla="*/ 61 h 207"/>
                  <a:gd name="T24" fmla="*/ 1527 w 1589"/>
                  <a:gd name="T25" fmla="*/ 61 h 207"/>
                  <a:gd name="T26" fmla="*/ 1523 w 1589"/>
                  <a:gd name="T27" fmla="*/ 57 h 207"/>
                  <a:gd name="T28" fmla="*/ 1589 w 1589"/>
                  <a:gd name="T29" fmla="*/ 57 h 207"/>
                  <a:gd name="T30" fmla="*/ 1527 w 1589"/>
                  <a:gd name="T31" fmla="*/ 57 h 207"/>
                  <a:gd name="T32" fmla="*/ 1531 w 1589"/>
                  <a:gd name="T33" fmla="*/ 61 h 207"/>
                  <a:gd name="T34" fmla="*/ 1589 w 1589"/>
                  <a:gd name="T35" fmla="*/ 61 h 207"/>
                  <a:gd name="T36" fmla="*/ 1589 w 1589"/>
                  <a:gd name="T37" fmla="*/ 57 h 207"/>
                  <a:gd name="T38" fmla="*/ 231 w 1589"/>
                  <a:gd name="T39" fmla="*/ 0 h 207"/>
                  <a:gd name="T40" fmla="*/ 0 w 1589"/>
                  <a:gd name="T41" fmla="*/ 0 h 207"/>
                  <a:gd name="T42" fmla="*/ 0 w 1589"/>
                  <a:gd name="T43" fmla="*/ 3 h 207"/>
                  <a:gd name="T44" fmla="*/ 230 w 1589"/>
                  <a:gd name="T45" fmla="*/ 3 h 207"/>
                  <a:gd name="T46" fmla="*/ 231 w 1589"/>
                  <a:gd name="T47" fmla="*/ 0 h 207"/>
                  <a:gd name="T48" fmla="*/ 434 w 1589"/>
                  <a:gd name="T49" fmla="*/ 0 h 207"/>
                  <a:gd name="T50" fmla="*/ 260 w 1589"/>
                  <a:gd name="T51" fmla="*/ 0 h 207"/>
                  <a:gd name="T52" fmla="*/ 260 w 1589"/>
                  <a:gd name="T53" fmla="*/ 3 h 207"/>
                  <a:gd name="T54" fmla="*/ 434 w 1589"/>
                  <a:gd name="T55" fmla="*/ 3 h 207"/>
                  <a:gd name="T56" fmla="*/ 434 w 1589"/>
                  <a:gd name="T57" fmla="*/ 0 h 207"/>
                  <a:gd name="T58" fmla="*/ 447 w 1589"/>
                  <a:gd name="T59" fmla="*/ 0 h 207"/>
                  <a:gd name="T60" fmla="*/ 438 w 1589"/>
                  <a:gd name="T61" fmla="*/ 0 h 207"/>
                  <a:gd name="T62" fmla="*/ 438 w 1589"/>
                  <a:gd name="T63" fmla="*/ 3 h 207"/>
                  <a:gd name="T64" fmla="*/ 447 w 1589"/>
                  <a:gd name="T65" fmla="*/ 3 h 207"/>
                  <a:gd name="T66" fmla="*/ 511 w 1589"/>
                  <a:gd name="T67" fmla="*/ 30 h 207"/>
                  <a:gd name="T68" fmla="*/ 564 w 1589"/>
                  <a:gd name="T69" fmla="*/ 82 h 207"/>
                  <a:gd name="T70" fmla="*/ 566 w 1589"/>
                  <a:gd name="T71" fmla="*/ 79 h 207"/>
                  <a:gd name="T72" fmla="*/ 514 w 1589"/>
                  <a:gd name="T73" fmla="*/ 27 h 207"/>
                  <a:gd name="T74" fmla="*/ 447 w 1589"/>
                  <a:gd name="T75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89" h="207">
                    <a:moveTo>
                      <a:pt x="1523" y="57"/>
                    </a:moveTo>
                    <a:cubicBezTo>
                      <a:pt x="1335" y="57"/>
                      <a:pt x="1335" y="57"/>
                      <a:pt x="1335" y="57"/>
                    </a:cubicBezTo>
                    <a:cubicBezTo>
                      <a:pt x="1313" y="57"/>
                      <a:pt x="1294" y="76"/>
                      <a:pt x="1294" y="98"/>
                    </a:cubicBezTo>
                    <a:cubicBezTo>
                      <a:pt x="1294" y="166"/>
                      <a:pt x="1294" y="166"/>
                      <a:pt x="1294" y="166"/>
                    </a:cubicBezTo>
                    <a:cubicBezTo>
                      <a:pt x="1294" y="187"/>
                      <a:pt x="1278" y="203"/>
                      <a:pt x="1258" y="203"/>
                    </a:cubicBezTo>
                    <a:cubicBezTo>
                      <a:pt x="1076" y="203"/>
                      <a:pt x="1076" y="203"/>
                      <a:pt x="1076" y="203"/>
                    </a:cubicBezTo>
                    <a:cubicBezTo>
                      <a:pt x="1077" y="204"/>
                      <a:pt x="1077" y="205"/>
                      <a:pt x="1077" y="207"/>
                    </a:cubicBezTo>
                    <a:cubicBezTo>
                      <a:pt x="1077" y="207"/>
                      <a:pt x="1077" y="207"/>
                      <a:pt x="1077" y="207"/>
                    </a:cubicBezTo>
                    <a:cubicBezTo>
                      <a:pt x="1258" y="207"/>
                      <a:pt x="1258" y="207"/>
                      <a:pt x="1258" y="207"/>
                    </a:cubicBezTo>
                    <a:cubicBezTo>
                      <a:pt x="1280" y="207"/>
                      <a:pt x="1298" y="189"/>
                      <a:pt x="1298" y="166"/>
                    </a:cubicBezTo>
                    <a:cubicBezTo>
                      <a:pt x="1298" y="98"/>
                      <a:pt x="1298" y="98"/>
                      <a:pt x="1298" y="98"/>
                    </a:cubicBezTo>
                    <a:cubicBezTo>
                      <a:pt x="1298" y="78"/>
                      <a:pt x="1315" y="61"/>
                      <a:pt x="1335" y="61"/>
                    </a:cubicBezTo>
                    <a:cubicBezTo>
                      <a:pt x="1527" y="61"/>
                      <a:pt x="1527" y="61"/>
                      <a:pt x="1527" y="61"/>
                    </a:cubicBezTo>
                    <a:cubicBezTo>
                      <a:pt x="1525" y="60"/>
                      <a:pt x="1524" y="59"/>
                      <a:pt x="1523" y="57"/>
                    </a:cubicBezTo>
                    <a:moveTo>
                      <a:pt x="1589" y="57"/>
                    </a:moveTo>
                    <a:cubicBezTo>
                      <a:pt x="1527" y="57"/>
                      <a:pt x="1527" y="57"/>
                      <a:pt x="1527" y="57"/>
                    </a:cubicBezTo>
                    <a:cubicBezTo>
                      <a:pt x="1528" y="59"/>
                      <a:pt x="1529" y="60"/>
                      <a:pt x="1531" y="61"/>
                    </a:cubicBezTo>
                    <a:cubicBezTo>
                      <a:pt x="1589" y="61"/>
                      <a:pt x="1589" y="61"/>
                      <a:pt x="1589" y="61"/>
                    </a:cubicBezTo>
                    <a:cubicBezTo>
                      <a:pt x="1589" y="57"/>
                      <a:pt x="1589" y="57"/>
                      <a:pt x="1589" y="57"/>
                    </a:cubicBezTo>
                    <a:moveTo>
                      <a:pt x="23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30" y="3"/>
                      <a:pt x="230" y="3"/>
                      <a:pt x="230" y="3"/>
                    </a:cubicBezTo>
                    <a:cubicBezTo>
                      <a:pt x="230" y="2"/>
                      <a:pt x="231" y="1"/>
                      <a:pt x="231" y="0"/>
                    </a:cubicBezTo>
                    <a:moveTo>
                      <a:pt x="434" y="0"/>
                    </a:moveTo>
                    <a:cubicBezTo>
                      <a:pt x="260" y="0"/>
                      <a:pt x="260" y="0"/>
                      <a:pt x="260" y="0"/>
                    </a:cubicBezTo>
                    <a:cubicBezTo>
                      <a:pt x="260" y="1"/>
                      <a:pt x="260" y="2"/>
                      <a:pt x="260" y="3"/>
                    </a:cubicBezTo>
                    <a:cubicBezTo>
                      <a:pt x="434" y="3"/>
                      <a:pt x="434" y="3"/>
                      <a:pt x="434" y="3"/>
                    </a:cubicBezTo>
                    <a:cubicBezTo>
                      <a:pt x="434" y="0"/>
                      <a:pt x="434" y="0"/>
                      <a:pt x="434" y="0"/>
                    </a:cubicBezTo>
                    <a:moveTo>
                      <a:pt x="447" y="0"/>
                    </a:moveTo>
                    <a:cubicBezTo>
                      <a:pt x="438" y="0"/>
                      <a:pt x="438" y="0"/>
                      <a:pt x="438" y="0"/>
                    </a:cubicBezTo>
                    <a:cubicBezTo>
                      <a:pt x="438" y="3"/>
                      <a:pt x="438" y="3"/>
                      <a:pt x="438" y="3"/>
                    </a:cubicBezTo>
                    <a:cubicBezTo>
                      <a:pt x="447" y="3"/>
                      <a:pt x="447" y="3"/>
                      <a:pt x="447" y="3"/>
                    </a:cubicBezTo>
                    <a:cubicBezTo>
                      <a:pt x="468" y="3"/>
                      <a:pt x="497" y="15"/>
                      <a:pt x="511" y="30"/>
                    </a:cubicBezTo>
                    <a:cubicBezTo>
                      <a:pt x="564" y="82"/>
                      <a:pt x="564" y="82"/>
                      <a:pt x="564" y="82"/>
                    </a:cubicBezTo>
                    <a:cubicBezTo>
                      <a:pt x="566" y="79"/>
                      <a:pt x="566" y="79"/>
                      <a:pt x="566" y="79"/>
                    </a:cubicBezTo>
                    <a:cubicBezTo>
                      <a:pt x="514" y="27"/>
                      <a:pt x="514" y="27"/>
                      <a:pt x="514" y="27"/>
                    </a:cubicBezTo>
                    <a:cubicBezTo>
                      <a:pt x="499" y="12"/>
                      <a:pt x="469" y="0"/>
                      <a:pt x="447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" name="Freeform 86"/>
              <p:cNvSpPr>
                <a:spLocks/>
              </p:cNvSpPr>
              <p:nvPr/>
            </p:nvSpPr>
            <p:spPr bwMode="auto">
              <a:xfrm>
                <a:off x="1480155" y="2800960"/>
                <a:ext cx="8296" cy="3771"/>
              </a:xfrm>
              <a:custGeom>
                <a:avLst/>
                <a:gdLst>
                  <a:gd name="T0" fmla="*/ 4 w 8"/>
                  <a:gd name="T1" fmla="*/ 0 h 4"/>
                  <a:gd name="T2" fmla="*/ 0 w 8"/>
                  <a:gd name="T3" fmla="*/ 0 h 4"/>
                  <a:gd name="T4" fmla="*/ 4 w 8"/>
                  <a:gd name="T5" fmla="*/ 4 h 4"/>
                  <a:gd name="T6" fmla="*/ 8 w 8"/>
                  <a:gd name="T7" fmla="*/ 4 h 4"/>
                  <a:gd name="T8" fmla="*/ 4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2" y="3"/>
                      <a:pt x="4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3"/>
                      <a:pt x="5" y="2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" name="Freeform 87"/>
              <p:cNvSpPr>
                <a:spLocks noEditPoints="1"/>
              </p:cNvSpPr>
              <p:nvPr/>
            </p:nvSpPr>
            <p:spPr bwMode="auto">
              <a:xfrm>
                <a:off x="535955" y="2825847"/>
                <a:ext cx="475116" cy="123681"/>
              </a:xfrm>
              <a:custGeom>
                <a:avLst/>
                <a:gdLst>
                  <a:gd name="T0" fmla="*/ 401 w 481"/>
                  <a:gd name="T1" fmla="*/ 121 h 125"/>
                  <a:gd name="T2" fmla="*/ 352 w 481"/>
                  <a:gd name="T3" fmla="*/ 121 h 125"/>
                  <a:gd name="T4" fmla="*/ 352 w 481"/>
                  <a:gd name="T5" fmla="*/ 125 h 125"/>
                  <a:gd name="T6" fmla="*/ 352 w 481"/>
                  <a:gd name="T7" fmla="*/ 125 h 125"/>
                  <a:gd name="T8" fmla="*/ 400 w 481"/>
                  <a:gd name="T9" fmla="*/ 125 h 125"/>
                  <a:gd name="T10" fmla="*/ 400 w 481"/>
                  <a:gd name="T11" fmla="*/ 125 h 125"/>
                  <a:gd name="T12" fmla="*/ 401 w 481"/>
                  <a:gd name="T13" fmla="*/ 121 h 125"/>
                  <a:gd name="T14" fmla="*/ 481 w 481"/>
                  <a:gd name="T15" fmla="*/ 121 h 125"/>
                  <a:gd name="T16" fmla="*/ 430 w 481"/>
                  <a:gd name="T17" fmla="*/ 121 h 125"/>
                  <a:gd name="T18" fmla="*/ 430 w 481"/>
                  <a:gd name="T19" fmla="*/ 125 h 125"/>
                  <a:gd name="T20" fmla="*/ 430 w 481"/>
                  <a:gd name="T21" fmla="*/ 125 h 125"/>
                  <a:gd name="T22" fmla="*/ 480 w 481"/>
                  <a:gd name="T23" fmla="*/ 125 h 125"/>
                  <a:gd name="T24" fmla="*/ 480 w 481"/>
                  <a:gd name="T25" fmla="*/ 125 h 125"/>
                  <a:gd name="T26" fmla="*/ 481 w 481"/>
                  <a:gd name="T27" fmla="*/ 121 h 125"/>
                  <a:gd name="T28" fmla="*/ 3 w 481"/>
                  <a:gd name="T29" fmla="*/ 0 h 125"/>
                  <a:gd name="T30" fmla="*/ 0 w 481"/>
                  <a:gd name="T31" fmla="*/ 3 h 125"/>
                  <a:gd name="T32" fmla="*/ 95 w 481"/>
                  <a:gd name="T33" fmla="*/ 97 h 125"/>
                  <a:gd name="T34" fmla="*/ 161 w 481"/>
                  <a:gd name="T35" fmla="*/ 125 h 125"/>
                  <a:gd name="T36" fmla="*/ 322 w 481"/>
                  <a:gd name="T37" fmla="*/ 125 h 125"/>
                  <a:gd name="T38" fmla="*/ 322 w 481"/>
                  <a:gd name="T39" fmla="*/ 125 h 125"/>
                  <a:gd name="T40" fmla="*/ 322 w 481"/>
                  <a:gd name="T41" fmla="*/ 121 h 125"/>
                  <a:gd name="T42" fmla="*/ 161 w 481"/>
                  <a:gd name="T43" fmla="*/ 121 h 125"/>
                  <a:gd name="T44" fmla="*/ 97 w 481"/>
                  <a:gd name="T45" fmla="*/ 94 h 125"/>
                  <a:gd name="T46" fmla="*/ 3 w 481"/>
                  <a:gd name="T47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81" h="125">
                    <a:moveTo>
                      <a:pt x="401" y="121"/>
                    </a:moveTo>
                    <a:cubicBezTo>
                      <a:pt x="352" y="121"/>
                      <a:pt x="352" y="121"/>
                      <a:pt x="352" y="121"/>
                    </a:cubicBezTo>
                    <a:cubicBezTo>
                      <a:pt x="352" y="122"/>
                      <a:pt x="352" y="123"/>
                      <a:pt x="352" y="125"/>
                    </a:cubicBezTo>
                    <a:cubicBezTo>
                      <a:pt x="352" y="125"/>
                      <a:pt x="352" y="125"/>
                      <a:pt x="352" y="125"/>
                    </a:cubicBezTo>
                    <a:cubicBezTo>
                      <a:pt x="400" y="125"/>
                      <a:pt x="400" y="125"/>
                      <a:pt x="400" y="125"/>
                    </a:cubicBezTo>
                    <a:cubicBezTo>
                      <a:pt x="400" y="125"/>
                      <a:pt x="400" y="125"/>
                      <a:pt x="400" y="125"/>
                    </a:cubicBezTo>
                    <a:cubicBezTo>
                      <a:pt x="400" y="123"/>
                      <a:pt x="400" y="122"/>
                      <a:pt x="401" y="121"/>
                    </a:cubicBezTo>
                    <a:moveTo>
                      <a:pt x="481" y="121"/>
                    </a:moveTo>
                    <a:cubicBezTo>
                      <a:pt x="430" y="121"/>
                      <a:pt x="430" y="121"/>
                      <a:pt x="430" y="121"/>
                    </a:cubicBezTo>
                    <a:cubicBezTo>
                      <a:pt x="430" y="122"/>
                      <a:pt x="430" y="123"/>
                      <a:pt x="430" y="125"/>
                    </a:cubicBezTo>
                    <a:cubicBezTo>
                      <a:pt x="430" y="125"/>
                      <a:pt x="430" y="125"/>
                      <a:pt x="430" y="125"/>
                    </a:cubicBezTo>
                    <a:cubicBezTo>
                      <a:pt x="480" y="125"/>
                      <a:pt x="480" y="125"/>
                      <a:pt x="480" y="125"/>
                    </a:cubicBezTo>
                    <a:cubicBezTo>
                      <a:pt x="480" y="125"/>
                      <a:pt x="480" y="125"/>
                      <a:pt x="480" y="125"/>
                    </a:cubicBezTo>
                    <a:cubicBezTo>
                      <a:pt x="480" y="123"/>
                      <a:pt x="481" y="122"/>
                      <a:pt x="481" y="121"/>
                    </a:cubicBezTo>
                    <a:moveTo>
                      <a:pt x="3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95" y="97"/>
                      <a:pt x="95" y="97"/>
                      <a:pt x="95" y="97"/>
                    </a:cubicBezTo>
                    <a:cubicBezTo>
                      <a:pt x="110" y="112"/>
                      <a:pt x="140" y="125"/>
                      <a:pt x="161" y="125"/>
                    </a:cubicBezTo>
                    <a:cubicBezTo>
                      <a:pt x="322" y="125"/>
                      <a:pt x="322" y="125"/>
                      <a:pt x="322" y="125"/>
                    </a:cubicBezTo>
                    <a:cubicBezTo>
                      <a:pt x="322" y="125"/>
                      <a:pt x="322" y="125"/>
                      <a:pt x="322" y="125"/>
                    </a:cubicBezTo>
                    <a:cubicBezTo>
                      <a:pt x="322" y="123"/>
                      <a:pt x="322" y="122"/>
                      <a:pt x="322" y="121"/>
                    </a:cubicBezTo>
                    <a:cubicBezTo>
                      <a:pt x="161" y="121"/>
                      <a:pt x="161" y="121"/>
                      <a:pt x="161" y="121"/>
                    </a:cubicBezTo>
                    <a:cubicBezTo>
                      <a:pt x="141" y="121"/>
                      <a:pt x="112" y="109"/>
                      <a:pt x="97" y="94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7" name="Freeform 88"/>
              <p:cNvSpPr>
                <a:spLocks noEditPoints="1"/>
              </p:cNvSpPr>
              <p:nvPr/>
            </p:nvSpPr>
            <p:spPr bwMode="auto">
              <a:xfrm>
                <a:off x="-92255" y="2538515"/>
                <a:ext cx="1715699" cy="399701"/>
              </a:xfrm>
              <a:custGeom>
                <a:avLst/>
                <a:gdLst>
                  <a:gd name="T0" fmla="*/ 1605 w 1739"/>
                  <a:gd name="T1" fmla="*/ 81 h 404"/>
                  <a:gd name="T2" fmla="*/ 1488 w 1739"/>
                  <a:gd name="T3" fmla="*/ 81 h 404"/>
                  <a:gd name="T4" fmla="*/ 1488 w 1739"/>
                  <a:gd name="T5" fmla="*/ 85 h 404"/>
                  <a:gd name="T6" fmla="*/ 1607 w 1739"/>
                  <a:gd name="T7" fmla="*/ 85 h 404"/>
                  <a:gd name="T8" fmla="*/ 1605 w 1739"/>
                  <a:gd name="T9" fmla="*/ 82 h 404"/>
                  <a:gd name="T10" fmla="*/ 1605 w 1739"/>
                  <a:gd name="T11" fmla="*/ 81 h 404"/>
                  <a:gd name="T12" fmla="*/ 1694 w 1739"/>
                  <a:gd name="T13" fmla="*/ 81 h 404"/>
                  <a:gd name="T14" fmla="*/ 1618 w 1739"/>
                  <a:gd name="T15" fmla="*/ 81 h 404"/>
                  <a:gd name="T16" fmla="*/ 1620 w 1739"/>
                  <a:gd name="T17" fmla="*/ 85 h 404"/>
                  <a:gd name="T18" fmla="*/ 1696 w 1739"/>
                  <a:gd name="T19" fmla="*/ 85 h 404"/>
                  <a:gd name="T20" fmla="*/ 1694 w 1739"/>
                  <a:gd name="T21" fmla="*/ 81 h 404"/>
                  <a:gd name="T22" fmla="*/ 1739 w 1739"/>
                  <a:gd name="T23" fmla="*/ 81 h 404"/>
                  <a:gd name="T24" fmla="*/ 1698 w 1739"/>
                  <a:gd name="T25" fmla="*/ 81 h 404"/>
                  <a:gd name="T26" fmla="*/ 1701 w 1739"/>
                  <a:gd name="T27" fmla="*/ 85 h 404"/>
                  <a:gd name="T28" fmla="*/ 1739 w 1739"/>
                  <a:gd name="T29" fmla="*/ 85 h 404"/>
                  <a:gd name="T30" fmla="*/ 1739 w 1739"/>
                  <a:gd name="T31" fmla="*/ 81 h 404"/>
                  <a:gd name="T32" fmla="*/ 453 w 1739"/>
                  <a:gd name="T33" fmla="*/ 0 h 404"/>
                  <a:gd name="T34" fmla="*/ 0 w 1739"/>
                  <a:gd name="T35" fmla="*/ 0 h 404"/>
                  <a:gd name="T36" fmla="*/ 0 w 1739"/>
                  <a:gd name="T37" fmla="*/ 3 h 404"/>
                  <a:gd name="T38" fmla="*/ 453 w 1739"/>
                  <a:gd name="T39" fmla="*/ 3 h 404"/>
                  <a:gd name="T40" fmla="*/ 453 w 1739"/>
                  <a:gd name="T41" fmla="*/ 0 h 404"/>
                  <a:gd name="T42" fmla="*/ 468 w 1739"/>
                  <a:gd name="T43" fmla="*/ 0 h 404"/>
                  <a:gd name="T44" fmla="*/ 457 w 1739"/>
                  <a:gd name="T45" fmla="*/ 0 h 404"/>
                  <a:gd name="T46" fmla="*/ 457 w 1739"/>
                  <a:gd name="T47" fmla="*/ 3 h 404"/>
                  <a:gd name="T48" fmla="*/ 468 w 1739"/>
                  <a:gd name="T49" fmla="*/ 3 h 404"/>
                  <a:gd name="T50" fmla="*/ 505 w 1739"/>
                  <a:gd name="T51" fmla="*/ 40 h 404"/>
                  <a:gd name="T52" fmla="*/ 505 w 1739"/>
                  <a:gd name="T53" fmla="*/ 208 h 404"/>
                  <a:gd name="T54" fmla="*/ 505 w 1739"/>
                  <a:gd name="T55" fmla="*/ 211 h 404"/>
                  <a:gd name="T56" fmla="*/ 505 w 1739"/>
                  <a:gd name="T57" fmla="*/ 382 h 404"/>
                  <a:gd name="T58" fmla="*/ 514 w 1739"/>
                  <a:gd name="T59" fmla="*/ 403 h 404"/>
                  <a:gd name="T60" fmla="*/ 518 w 1739"/>
                  <a:gd name="T61" fmla="*/ 404 h 404"/>
                  <a:gd name="T62" fmla="*/ 535 w 1739"/>
                  <a:gd name="T63" fmla="*/ 395 h 404"/>
                  <a:gd name="T64" fmla="*/ 637 w 1739"/>
                  <a:gd name="T65" fmla="*/ 293 h 404"/>
                  <a:gd name="T66" fmla="*/ 640 w 1739"/>
                  <a:gd name="T67" fmla="*/ 290 h 404"/>
                  <a:gd name="T68" fmla="*/ 819 w 1739"/>
                  <a:gd name="T69" fmla="*/ 111 h 404"/>
                  <a:gd name="T70" fmla="*/ 883 w 1739"/>
                  <a:gd name="T71" fmla="*/ 85 h 404"/>
                  <a:gd name="T72" fmla="*/ 940 w 1739"/>
                  <a:gd name="T73" fmla="*/ 85 h 404"/>
                  <a:gd name="T74" fmla="*/ 940 w 1739"/>
                  <a:gd name="T75" fmla="*/ 81 h 404"/>
                  <a:gd name="T76" fmla="*/ 883 w 1739"/>
                  <a:gd name="T77" fmla="*/ 81 h 404"/>
                  <a:gd name="T78" fmla="*/ 816 w 1739"/>
                  <a:gd name="T79" fmla="*/ 108 h 404"/>
                  <a:gd name="T80" fmla="*/ 637 w 1739"/>
                  <a:gd name="T81" fmla="*/ 287 h 404"/>
                  <a:gd name="T82" fmla="*/ 635 w 1739"/>
                  <a:gd name="T83" fmla="*/ 290 h 404"/>
                  <a:gd name="T84" fmla="*/ 532 w 1739"/>
                  <a:gd name="T85" fmla="*/ 392 h 404"/>
                  <a:gd name="T86" fmla="*/ 518 w 1739"/>
                  <a:gd name="T87" fmla="*/ 400 h 404"/>
                  <a:gd name="T88" fmla="*/ 515 w 1739"/>
                  <a:gd name="T89" fmla="*/ 400 h 404"/>
                  <a:gd name="T90" fmla="*/ 509 w 1739"/>
                  <a:gd name="T91" fmla="*/ 382 h 404"/>
                  <a:gd name="T92" fmla="*/ 509 w 1739"/>
                  <a:gd name="T93" fmla="*/ 211 h 404"/>
                  <a:gd name="T94" fmla="*/ 509 w 1739"/>
                  <a:gd name="T95" fmla="*/ 208 h 404"/>
                  <a:gd name="T96" fmla="*/ 509 w 1739"/>
                  <a:gd name="T97" fmla="*/ 40 h 404"/>
                  <a:gd name="T98" fmla="*/ 468 w 1739"/>
                  <a:gd name="T99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39" h="404">
                    <a:moveTo>
                      <a:pt x="1605" y="81"/>
                    </a:moveTo>
                    <a:cubicBezTo>
                      <a:pt x="1488" y="81"/>
                      <a:pt x="1488" y="81"/>
                      <a:pt x="1488" y="81"/>
                    </a:cubicBezTo>
                    <a:cubicBezTo>
                      <a:pt x="1488" y="82"/>
                      <a:pt x="1488" y="83"/>
                      <a:pt x="1488" y="85"/>
                    </a:cubicBezTo>
                    <a:cubicBezTo>
                      <a:pt x="1607" y="85"/>
                      <a:pt x="1607" y="85"/>
                      <a:pt x="1607" y="85"/>
                    </a:cubicBezTo>
                    <a:cubicBezTo>
                      <a:pt x="1606" y="84"/>
                      <a:pt x="1606" y="83"/>
                      <a:pt x="1605" y="82"/>
                    </a:cubicBezTo>
                    <a:cubicBezTo>
                      <a:pt x="1605" y="81"/>
                      <a:pt x="1605" y="81"/>
                      <a:pt x="1605" y="81"/>
                    </a:cubicBezTo>
                    <a:moveTo>
                      <a:pt x="1694" y="81"/>
                    </a:moveTo>
                    <a:cubicBezTo>
                      <a:pt x="1618" y="81"/>
                      <a:pt x="1618" y="81"/>
                      <a:pt x="1618" y="81"/>
                    </a:cubicBezTo>
                    <a:cubicBezTo>
                      <a:pt x="1618" y="82"/>
                      <a:pt x="1619" y="83"/>
                      <a:pt x="1620" y="85"/>
                    </a:cubicBezTo>
                    <a:cubicBezTo>
                      <a:pt x="1696" y="85"/>
                      <a:pt x="1696" y="85"/>
                      <a:pt x="1696" y="85"/>
                    </a:cubicBezTo>
                    <a:cubicBezTo>
                      <a:pt x="1695" y="83"/>
                      <a:pt x="1695" y="82"/>
                      <a:pt x="1694" y="81"/>
                    </a:cubicBezTo>
                    <a:moveTo>
                      <a:pt x="1739" y="81"/>
                    </a:moveTo>
                    <a:cubicBezTo>
                      <a:pt x="1698" y="81"/>
                      <a:pt x="1698" y="81"/>
                      <a:pt x="1698" y="81"/>
                    </a:cubicBezTo>
                    <a:cubicBezTo>
                      <a:pt x="1699" y="82"/>
                      <a:pt x="1700" y="83"/>
                      <a:pt x="1701" y="85"/>
                    </a:cubicBezTo>
                    <a:cubicBezTo>
                      <a:pt x="1739" y="85"/>
                      <a:pt x="1739" y="85"/>
                      <a:pt x="1739" y="85"/>
                    </a:cubicBezTo>
                    <a:cubicBezTo>
                      <a:pt x="1739" y="83"/>
                      <a:pt x="1739" y="82"/>
                      <a:pt x="1739" y="81"/>
                    </a:cubicBezTo>
                    <a:moveTo>
                      <a:pt x="4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53" y="3"/>
                      <a:pt x="453" y="3"/>
                      <a:pt x="453" y="3"/>
                    </a:cubicBezTo>
                    <a:cubicBezTo>
                      <a:pt x="453" y="0"/>
                      <a:pt x="453" y="0"/>
                      <a:pt x="453" y="0"/>
                    </a:cubicBezTo>
                    <a:moveTo>
                      <a:pt x="468" y="0"/>
                    </a:moveTo>
                    <a:cubicBezTo>
                      <a:pt x="457" y="0"/>
                      <a:pt x="457" y="0"/>
                      <a:pt x="457" y="0"/>
                    </a:cubicBezTo>
                    <a:cubicBezTo>
                      <a:pt x="457" y="3"/>
                      <a:pt x="457" y="3"/>
                      <a:pt x="457" y="3"/>
                    </a:cubicBezTo>
                    <a:cubicBezTo>
                      <a:pt x="468" y="3"/>
                      <a:pt x="468" y="3"/>
                      <a:pt x="468" y="3"/>
                    </a:cubicBezTo>
                    <a:cubicBezTo>
                      <a:pt x="488" y="3"/>
                      <a:pt x="505" y="20"/>
                      <a:pt x="505" y="40"/>
                    </a:cubicBezTo>
                    <a:cubicBezTo>
                      <a:pt x="505" y="208"/>
                      <a:pt x="505" y="208"/>
                      <a:pt x="505" y="208"/>
                    </a:cubicBezTo>
                    <a:cubicBezTo>
                      <a:pt x="505" y="211"/>
                      <a:pt x="505" y="211"/>
                      <a:pt x="505" y="211"/>
                    </a:cubicBezTo>
                    <a:cubicBezTo>
                      <a:pt x="505" y="382"/>
                      <a:pt x="505" y="382"/>
                      <a:pt x="505" y="382"/>
                    </a:cubicBezTo>
                    <a:cubicBezTo>
                      <a:pt x="505" y="393"/>
                      <a:pt x="508" y="401"/>
                      <a:pt x="514" y="403"/>
                    </a:cubicBezTo>
                    <a:cubicBezTo>
                      <a:pt x="515" y="404"/>
                      <a:pt x="517" y="404"/>
                      <a:pt x="518" y="404"/>
                    </a:cubicBezTo>
                    <a:cubicBezTo>
                      <a:pt x="523" y="404"/>
                      <a:pt x="529" y="401"/>
                      <a:pt x="535" y="395"/>
                    </a:cubicBezTo>
                    <a:cubicBezTo>
                      <a:pt x="637" y="293"/>
                      <a:pt x="637" y="293"/>
                      <a:pt x="637" y="293"/>
                    </a:cubicBezTo>
                    <a:cubicBezTo>
                      <a:pt x="640" y="290"/>
                      <a:pt x="640" y="290"/>
                      <a:pt x="640" y="290"/>
                    </a:cubicBezTo>
                    <a:cubicBezTo>
                      <a:pt x="819" y="111"/>
                      <a:pt x="819" y="111"/>
                      <a:pt x="819" y="111"/>
                    </a:cubicBezTo>
                    <a:cubicBezTo>
                      <a:pt x="834" y="97"/>
                      <a:pt x="862" y="85"/>
                      <a:pt x="883" y="85"/>
                    </a:cubicBezTo>
                    <a:cubicBezTo>
                      <a:pt x="940" y="85"/>
                      <a:pt x="940" y="85"/>
                      <a:pt x="940" y="85"/>
                    </a:cubicBezTo>
                    <a:cubicBezTo>
                      <a:pt x="940" y="81"/>
                      <a:pt x="940" y="81"/>
                      <a:pt x="940" y="81"/>
                    </a:cubicBezTo>
                    <a:cubicBezTo>
                      <a:pt x="883" y="81"/>
                      <a:pt x="883" y="81"/>
                      <a:pt x="883" y="81"/>
                    </a:cubicBezTo>
                    <a:cubicBezTo>
                      <a:pt x="861" y="81"/>
                      <a:pt x="831" y="93"/>
                      <a:pt x="816" y="108"/>
                    </a:cubicBezTo>
                    <a:cubicBezTo>
                      <a:pt x="637" y="287"/>
                      <a:pt x="637" y="287"/>
                      <a:pt x="637" y="287"/>
                    </a:cubicBezTo>
                    <a:cubicBezTo>
                      <a:pt x="635" y="290"/>
                      <a:pt x="635" y="290"/>
                      <a:pt x="635" y="290"/>
                    </a:cubicBezTo>
                    <a:cubicBezTo>
                      <a:pt x="532" y="392"/>
                      <a:pt x="532" y="392"/>
                      <a:pt x="532" y="392"/>
                    </a:cubicBezTo>
                    <a:cubicBezTo>
                      <a:pt x="527" y="397"/>
                      <a:pt x="522" y="400"/>
                      <a:pt x="518" y="400"/>
                    </a:cubicBezTo>
                    <a:cubicBezTo>
                      <a:pt x="517" y="400"/>
                      <a:pt x="516" y="400"/>
                      <a:pt x="515" y="400"/>
                    </a:cubicBezTo>
                    <a:cubicBezTo>
                      <a:pt x="511" y="398"/>
                      <a:pt x="509" y="392"/>
                      <a:pt x="509" y="382"/>
                    </a:cubicBezTo>
                    <a:cubicBezTo>
                      <a:pt x="509" y="211"/>
                      <a:pt x="509" y="211"/>
                      <a:pt x="509" y="211"/>
                    </a:cubicBezTo>
                    <a:cubicBezTo>
                      <a:pt x="509" y="208"/>
                      <a:pt x="509" y="208"/>
                      <a:pt x="509" y="208"/>
                    </a:cubicBezTo>
                    <a:cubicBezTo>
                      <a:pt x="509" y="40"/>
                      <a:pt x="509" y="40"/>
                      <a:pt x="509" y="40"/>
                    </a:cubicBezTo>
                    <a:cubicBezTo>
                      <a:pt x="509" y="18"/>
                      <a:pt x="490" y="0"/>
                      <a:pt x="468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" name="Freeform 89"/>
              <p:cNvSpPr>
                <a:spLocks/>
              </p:cNvSpPr>
              <p:nvPr/>
            </p:nvSpPr>
            <p:spPr bwMode="auto">
              <a:xfrm>
                <a:off x="1578949" y="2619209"/>
                <a:ext cx="6787" cy="3771"/>
              </a:xfrm>
              <a:custGeom>
                <a:avLst/>
                <a:gdLst>
                  <a:gd name="T0" fmla="*/ 4 w 7"/>
                  <a:gd name="T1" fmla="*/ 0 h 4"/>
                  <a:gd name="T2" fmla="*/ 0 w 7"/>
                  <a:gd name="T3" fmla="*/ 0 h 4"/>
                  <a:gd name="T4" fmla="*/ 2 w 7"/>
                  <a:gd name="T5" fmla="*/ 4 h 4"/>
                  <a:gd name="T6" fmla="*/ 7 w 7"/>
                  <a:gd name="T7" fmla="*/ 4 h 4"/>
                  <a:gd name="T8" fmla="*/ 4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2"/>
                      <a:pt x="5" y="1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9" name="Freeform 91"/>
              <p:cNvSpPr>
                <a:spLocks noEditPoints="1"/>
              </p:cNvSpPr>
              <p:nvPr/>
            </p:nvSpPr>
            <p:spPr bwMode="auto">
              <a:xfrm>
                <a:off x="839125" y="2619209"/>
                <a:ext cx="508299" cy="3771"/>
              </a:xfrm>
              <a:custGeom>
                <a:avLst/>
                <a:gdLst>
                  <a:gd name="T0" fmla="*/ 112 w 515"/>
                  <a:gd name="T1" fmla="*/ 0 h 4"/>
                  <a:gd name="T2" fmla="*/ 0 w 515"/>
                  <a:gd name="T3" fmla="*/ 0 h 4"/>
                  <a:gd name="T4" fmla="*/ 0 w 515"/>
                  <a:gd name="T5" fmla="*/ 4 h 4"/>
                  <a:gd name="T6" fmla="*/ 113 w 515"/>
                  <a:gd name="T7" fmla="*/ 4 h 4"/>
                  <a:gd name="T8" fmla="*/ 112 w 515"/>
                  <a:gd name="T9" fmla="*/ 0 h 4"/>
                  <a:gd name="T10" fmla="*/ 330 w 515"/>
                  <a:gd name="T11" fmla="*/ 0 h 4"/>
                  <a:gd name="T12" fmla="*/ 142 w 515"/>
                  <a:gd name="T13" fmla="*/ 0 h 4"/>
                  <a:gd name="T14" fmla="*/ 142 w 515"/>
                  <a:gd name="T15" fmla="*/ 4 h 4"/>
                  <a:gd name="T16" fmla="*/ 330 w 515"/>
                  <a:gd name="T17" fmla="*/ 4 h 4"/>
                  <a:gd name="T18" fmla="*/ 330 w 515"/>
                  <a:gd name="T19" fmla="*/ 0 h 4"/>
                  <a:gd name="T20" fmla="*/ 514 w 515"/>
                  <a:gd name="T21" fmla="*/ 0 h 4"/>
                  <a:gd name="T22" fmla="*/ 334 w 515"/>
                  <a:gd name="T23" fmla="*/ 0 h 4"/>
                  <a:gd name="T24" fmla="*/ 334 w 515"/>
                  <a:gd name="T25" fmla="*/ 4 h 4"/>
                  <a:gd name="T26" fmla="*/ 515 w 515"/>
                  <a:gd name="T27" fmla="*/ 4 h 4"/>
                  <a:gd name="T28" fmla="*/ 514 w 515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4">
                    <a:moveTo>
                      <a:pt x="11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2" y="2"/>
                      <a:pt x="112" y="1"/>
                      <a:pt x="112" y="0"/>
                    </a:cubicBezTo>
                    <a:moveTo>
                      <a:pt x="330" y="0"/>
                    </a:move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1"/>
                      <a:pt x="142" y="2"/>
                      <a:pt x="142" y="4"/>
                    </a:cubicBezTo>
                    <a:cubicBezTo>
                      <a:pt x="330" y="4"/>
                      <a:pt x="330" y="4"/>
                      <a:pt x="330" y="4"/>
                    </a:cubicBezTo>
                    <a:cubicBezTo>
                      <a:pt x="330" y="0"/>
                      <a:pt x="330" y="0"/>
                      <a:pt x="330" y="0"/>
                    </a:cubicBezTo>
                    <a:moveTo>
                      <a:pt x="514" y="0"/>
                    </a:move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4"/>
                      <a:pt x="334" y="4"/>
                      <a:pt x="334" y="4"/>
                    </a:cubicBezTo>
                    <a:cubicBezTo>
                      <a:pt x="515" y="4"/>
                      <a:pt x="515" y="4"/>
                      <a:pt x="515" y="4"/>
                    </a:cubicBezTo>
                    <a:cubicBezTo>
                      <a:pt x="514" y="2"/>
                      <a:pt x="514" y="1"/>
                      <a:pt x="51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" name="Rectangle 96"/>
              <p:cNvSpPr>
                <a:spLocks noChangeArrowheads="1"/>
              </p:cNvSpPr>
              <p:nvPr/>
            </p:nvSpPr>
            <p:spPr bwMode="auto">
              <a:xfrm>
                <a:off x="354958" y="2338664"/>
                <a:ext cx="3771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" name="Rectangle 97"/>
              <p:cNvSpPr>
                <a:spLocks noChangeArrowheads="1"/>
              </p:cNvSpPr>
              <p:nvPr/>
            </p:nvSpPr>
            <p:spPr bwMode="auto">
              <a:xfrm>
                <a:off x="354958" y="2338664"/>
                <a:ext cx="3771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" name="Freeform 106"/>
              <p:cNvSpPr>
                <a:spLocks noEditPoints="1"/>
              </p:cNvSpPr>
              <p:nvPr/>
            </p:nvSpPr>
            <p:spPr bwMode="auto">
              <a:xfrm>
                <a:off x="-41727" y="2152389"/>
                <a:ext cx="382356" cy="211917"/>
              </a:xfrm>
              <a:custGeom>
                <a:avLst/>
                <a:gdLst>
                  <a:gd name="T0" fmla="*/ 215 w 388"/>
                  <a:gd name="T1" fmla="*/ 195 h 214"/>
                  <a:gd name="T2" fmla="*/ 211 w 388"/>
                  <a:gd name="T3" fmla="*/ 195 h 214"/>
                  <a:gd name="T4" fmla="*/ 245 w 388"/>
                  <a:gd name="T5" fmla="*/ 214 h 214"/>
                  <a:gd name="T6" fmla="*/ 387 w 388"/>
                  <a:gd name="T7" fmla="*/ 214 h 214"/>
                  <a:gd name="T8" fmla="*/ 387 w 388"/>
                  <a:gd name="T9" fmla="*/ 214 h 214"/>
                  <a:gd name="T10" fmla="*/ 388 w 388"/>
                  <a:gd name="T11" fmla="*/ 210 h 214"/>
                  <a:gd name="T12" fmla="*/ 245 w 388"/>
                  <a:gd name="T13" fmla="*/ 210 h 214"/>
                  <a:gd name="T14" fmla="*/ 215 w 388"/>
                  <a:gd name="T15" fmla="*/ 195 h 214"/>
                  <a:gd name="T16" fmla="*/ 168 w 388"/>
                  <a:gd name="T17" fmla="*/ 0 h 214"/>
                  <a:gd name="T18" fmla="*/ 0 w 388"/>
                  <a:gd name="T19" fmla="*/ 0 h 214"/>
                  <a:gd name="T20" fmla="*/ 0 w 388"/>
                  <a:gd name="T21" fmla="*/ 4 h 214"/>
                  <a:gd name="T22" fmla="*/ 168 w 388"/>
                  <a:gd name="T23" fmla="*/ 4 h 214"/>
                  <a:gd name="T24" fmla="*/ 204 w 388"/>
                  <a:gd name="T25" fmla="*/ 40 h 214"/>
                  <a:gd name="T26" fmla="*/ 204 w 388"/>
                  <a:gd name="T27" fmla="*/ 174 h 214"/>
                  <a:gd name="T28" fmla="*/ 207 w 388"/>
                  <a:gd name="T29" fmla="*/ 188 h 214"/>
                  <a:gd name="T30" fmla="*/ 211 w 388"/>
                  <a:gd name="T31" fmla="*/ 188 h 214"/>
                  <a:gd name="T32" fmla="*/ 208 w 388"/>
                  <a:gd name="T33" fmla="*/ 174 h 214"/>
                  <a:gd name="T34" fmla="*/ 208 w 388"/>
                  <a:gd name="T35" fmla="*/ 40 h 214"/>
                  <a:gd name="T36" fmla="*/ 168 w 388"/>
                  <a:gd name="T37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8" h="214">
                    <a:moveTo>
                      <a:pt x="215" y="195"/>
                    </a:moveTo>
                    <a:cubicBezTo>
                      <a:pt x="211" y="195"/>
                      <a:pt x="211" y="195"/>
                      <a:pt x="211" y="195"/>
                    </a:cubicBezTo>
                    <a:cubicBezTo>
                      <a:pt x="218" y="207"/>
                      <a:pt x="230" y="214"/>
                      <a:pt x="245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87" y="213"/>
                      <a:pt x="387" y="211"/>
                      <a:pt x="388" y="210"/>
                    </a:cubicBezTo>
                    <a:cubicBezTo>
                      <a:pt x="245" y="210"/>
                      <a:pt x="245" y="210"/>
                      <a:pt x="245" y="210"/>
                    </a:cubicBezTo>
                    <a:cubicBezTo>
                      <a:pt x="233" y="210"/>
                      <a:pt x="222" y="204"/>
                      <a:pt x="215" y="195"/>
                    </a:cubicBezTo>
                    <a:moveTo>
                      <a:pt x="16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68" y="4"/>
                      <a:pt x="168" y="4"/>
                      <a:pt x="168" y="4"/>
                    </a:cubicBezTo>
                    <a:cubicBezTo>
                      <a:pt x="188" y="4"/>
                      <a:pt x="204" y="20"/>
                      <a:pt x="204" y="40"/>
                    </a:cubicBezTo>
                    <a:cubicBezTo>
                      <a:pt x="204" y="174"/>
                      <a:pt x="204" y="174"/>
                      <a:pt x="204" y="174"/>
                    </a:cubicBezTo>
                    <a:cubicBezTo>
                      <a:pt x="204" y="179"/>
                      <a:pt x="205" y="184"/>
                      <a:pt x="207" y="188"/>
                    </a:cubicBezTo>
                    <a:cubicBezTo>
                      <a:pt x="211" y="188"/>
                      <a:pt x="211" y="188"/>
                      <a:pt x="211" y="188"/>
                    </a:cubicBezTo>
                    <a:cubicBezTo>
                      <a:pt x="209" y="184"/>
                      <a:pt x="208" y="179"/>
                      <a:pt x="208" y="174"/>
                    </a:cubicBezTo>
                    <a:cubicBezTo>
                      <a:pt x="208" y="40"/>
                      <a:pt x="208" y="40"/>
                      <a:pt x="208" y="40"/>
                    </a:cubicBezTo>
                    <a:cubicBezTo>
                      <a:pt x="208" y="18"/>
                      <a:pt x="190" y="0"/>
                      <a:pt x="168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" name="Freeform 107"/>
              <p:cNvSpPr>
                <a:spLocks/>
              </p:cNvSpPr>
              <p:nvPr/>
            </p:nvSpPr>
            <p:spPr bwMode="auto">
              <a:xfrm>
                <a:off x="162649" y="2338664"/>
                <a:ext cx="7542" cy="6787"/>
              </a:xfrm>
              <a:custGeom>
                <a:avLst/>
                <a:gdLst>
                  <a:gd name="T0" fmla="*/ 4 w 8"/>
                  <a:gd name="T1" fmla="*/ 0 h 7"/>
                  <a:gd name="T2" fmla="*/ 0 w 8"/>
                  <a:gd name="T3" fmla="*/ 0 h 7"/>
                  <a:gd name="T4" fmla="*/ 4 w 8"/>
                  <a:gd name="T5" fmla="*/ 7 h 7"/>
                  <a:gd name="T6" fmla="*/ 8 w 8"/>
                  <a:gd name="T7" fmla="*/ 7 h 7"/>
                  <a:gd name="T8" fmla="*/ 4 w 8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2" y="5"/>
                      <a:pt x="4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7" y="5"/>
                      <a:pt x="5" y="3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" name="Freeform 108"/>
              <p:cNvSpPr>
                <a:spLocks noEditPoints="1"/>
              </p:cNvSpPr>
              <p:nvPr/>
            </p:nvSpPr>
            <p:spPr bwMode="auto">
              <a:xfrm>
                <a:off x="369287" y="2360536"/>
                <a:ext cx="469838" cy="60332"/>
              </a:xfrm>
              <a:custGeom>
                <a:avLst/>
                <a:gdLst>
                  <a:gd name="T0" fmla="*/ 26 w 476"/>
                  <a:gd name="T1" fmla="*/ 0 h 61"/>
                  <a:gd name="T2" fmla="*/ 0 w 476"/>
                  <a:gd name="T3" fmla="*/ 0 h 61"/>
                  <a:gd name="T4" fmla="*/ 0 w 476"/>
                  <a:gd name="T5" fmla="*/ 4 h 61"/>
                  <a:gd name="T6" fmla="*/ 0 w 476"/>
                  <a:gd name="T7" fmla="*/ 4 h 61"/>
                  <a:gd name="T8" fmla="*/ 28 w 476"/>
                  <a:gd name="T9" fmla="*/ 4 h 61"/>
                  <a:gd name="T10" fmla="*/ 26 w 476"/>
                  <a:gd name="T11" fmla="*/ 0 h 61"/>
                  <a:gd name="T12" fmla="*/ 113 w 476"/>
                  <a:gd name="T13" fmla="*/ 0 h 61"/>
                  <a:gd name="T14" fmla="*/ 39 w 476"/>
                  <a:gd name="T15" fmla="*/ 0 h 61"/>
                  <a:gd name="T16" fmla="*/ 41 w 476"/>
                  <a:gd name="T17" fmla="*/ 4 h 61"/>
                  <a:gd name="T18" fmla="*/ 111 w 476"/>
                  <a:gd name="T19" fmla="*/ 4 h 61"/>
                  <a:gd name="T20" fmla="*/ 113 w 476"/>
                  <a:gd name="T21" fmla="*/ 0 h 61"/>
                  <a:gd name="T22" fmla="*/ 218 w 476"/>
                  <a:gd name="T23" fmla="*/ 0 h 61"/>
                  <a:gd name="T24" fmla="*/ 126 w 476"/>
                  <a:gd name="T25" fmla="*/ 0 h 61"/>
                  <a:gd name="T26" fmla="*/ 124 w 476"/>
                  <a:gd name="T27" fmla="*/ 4 h 61"/>
                  <a:gd name="T28" fmla="*/ 218 w 476"/>
                  <a:gd name="T29" fmla="*/ 4 h 61"/>
                  <a:gd name="T30" fmla="*/ 218 w 476"/>
                  <a:gd name="T31" fmla="*/ 0 h 61"/>
                  <a:gd name="T32" fmla="*/ 435 w 476"/>
                  <a:gd name="T33" fmla="*/ 0 h 61"/>
                  <a:gd name="T34" fmla="*/ 221 w 476"/>
                  <a:gd name="T35" fmla="*/ 0 h 61"/>
                  <a:gd name="T36" fmla="*/ 221 w 476"/>
                  <a:gd name="T37" fmla="*/ 4 h 61"/>
                  <a:gd name="T38" fmla="*/ 435 w 476"/>
                  <a:gd name="T39" fmla="*/ 4 h 61"/>
                  <a:gd name="T40" fmla="*/ 472 w 476"/>
                  <a:gd name="T41" fmla="*/ 41 h 61"/>
                  <a:gd name="T42" fmla="*/ 472 w 476"/>
                  <a:gd name="T43" fmla="*/ 61 h 61"/>
                  <a:gd name="T44" fmla="*/ 476 w 476"/>
                  <a:gd name="T45" fmla="*/ 61 h 61"/>
                  <a:gd name="T46" fmla="*/ 476 w 476"/>
                  <a:gd name="T47" fmla="*/ 41 h 61"/>
                  <a:gd name="T48" fmla="*/ 435 w 476"/>
                  <a:gd name="T4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6" h="61">
                    <a:moveTo>
                      <a:pt x="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7" y="3"/>
                      <a:pt x="27" y="2"/>
                      <a:pt x="26" y="0"/>
                    </a:cubicBezTo>
                    <a:moveTo>
                      <a:pt x="113" y="0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40" y="2"/>
                      <a:pt x="40" y="3"/>
                      <a:pt x="41" y="4"/>
                    </a:cubicBezTo>
                    <a:cubicBezTo>
                      <a:pt x="111" y="4"/>
                      <a:pt x="111" y="4"/>
                      <a:pt x="111" y="4"/>
                    </a:cubicBezTo>
                    <a:cubicBezTo>
                      <a:pt x="112" y="3"/>
                      <a:pt x="112" y="2"/>
                      <a:pt x="113" y="0"/>
                    </a:cubicBezTo>
                    <a:moveTo>
                      <a:pt x="218" y="0"/>
                    </a:moveTo>
                    <a:cubicBezTo>
                      <a:pt x="126" y="0"/>
                      <a:pt x="126" y="0"/>
                      <a:pt x="126" y="0"/>
                    </a:cubicBezTo>
                    <a:cubicBezTo>
                      <a:pt x="125" y="2"/>
                      <a:pt x="125" y="3"/>
                      <a:pt x="124" y="4"/>
                    </a:cubicBezTo>
                    <a:cubicBezTo>
                      <a:pt x="218" y="4"/>
                      <a:pt x="218" y="4"/>
                      <a:pt x="218" y="4"/>
                    </a:cubicBezTo>
                    <a:cubicBezTo>
                      <a:pt x="218" y="0"/>
                      <a:pt x="218" y="0"/>
                      <a:pt x="218" y="0"/>
                    </a:cubicBezTo>
                    <a:moveTo>
                      <a:pt x="435" y="0"/>
                    </a:moveTo>
                    <a:cubicBezTo>
                      <a:pt x="221" y="0"/>
                      <a:pt x="221" y="0"/>
                      <a:pt x="221" y="0"/>
                    </a:cubicBezTo>
                    <a:cubicBezTo>
                      <a:pt x="221" y="4"/>
                      <a:pt x="221" y="4"/>
                      <a:pt x="221" y="4"/>
                    </a:cubicBezTo>
                    <a:cubicBezTo>
                      <a:pt x="435" y="4"/>
                      <a:pt x="435" y="4"/>
                      <a:pt x="435" y="4"/>
                    </a:cubicBezTo>
                    <a:cubicBezTo>
                      <a:pt x="456" y="4"/>
                      <a:pt x="472" y="20"/>
                      <a:pt x="472" y="41"/>
                    </a:cubicBezTo>
                    <a:cubicBezTo>
                      <a:pt x="472" y="61"/>
                      <a:pt x="472" y="61"/>
                      <a:pt x="472" y="61"/>
                    </a:cubicBezTo>
                    <a:cubicBezTo>
                      <a:pt x="476" y="61"/>
                      <a:pt x="476" y="61"/>
                      <a:pt x="476" y="61"/>
                    </a:cubicBezTo>
                    <a:cubicBezTo>
                      <a:pt x="476" y="41"/>
                      <a:pt x="476" y="41"/>
                      <a:pt x="476" y="41"/>
                    </a:cubicBezTo>
                    <a:cubicBezTo>
                      <a:pt x="476" y="18"/>
                      <a:pt x="458" y="0"/>
                      <a:pt x="43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" name="Freeform 109"/>
              <p:cNvSpPr>
                <a:spLocks noEditPoints="1"/>
              </p:cNvSpPr>
              <p:nvPr/>
            </p:nvSpPr>
            <p:spPr bwMode="auto">
              <a:xfrm>
                <a:off x="394928" y="2360536"/>
                <a:ext cx="98795" cy="3771"/>
              </a:xfrm>
              <a:custGeom>
                <a:avLst/>
                <a:gdLst>
                  <a:gd name="T0" fmla="*/ 13 w 100"/>
                  <a:gd name="T1" fmla="*/ 0 h 4"/>
                  <a:gd name="T2" fmla="*/ 0 w 100"/>
                  <a:gd name="T3" fmla="*/ 0 h 4"/>
                  <a:gd name="T4" fmla="*/ 2 w 100"/>
                  <a:gd name="T5" fmla="*/ 4 h 4"/>
                  <a:gd name="T6" fmla="*/ 15 w 100"/>
                  <a:gd name="T7" fmla="*/ 4 h 4"/>
                  <a:gd name="T8" fmla="*/ 13 w 100"/>
                  <a:gd name="T9" fmla="*/ 0 h 4"/>
                  <a:gd name="T10" fmla="*/ 100 w 100"/>
                  <a:gd name="T11" fmla="*/ 0 h 4"/>
                  <a:gd name="T12" fmla="*/ 87 w 100"/>
                  <a:gd name="T13" fmla="*/ 0 h 4"/>
                  <a:gd name="T14" fmla="*/ 85 w 100"/>
                  <a:gd name="T15" fmla="*/ 4 h 4"/>
                  <a:gd name="T16" fmla="*/ 98 w 100"/>
                  <a:gd name="T17" fmla="*/ 4 h 4"/>
                  <a:gd name="T18" fmla="*/ 100 w 10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4"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3"/>
                      <a:pt x="2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3"/>
                      <a:pt x="14" y="2"/>
                      <a:pt x="13" y="0"/>
                    </a:cubicBezTo>
                    <a:moveTo>
                      <a:pt x="100" y="0"/>
                    </a:moveTo>
                    <a:cubicBezTo>
                      <a:pt x="87" y="0"/>
                      <a:pt x="87" y="0"/>
                      <a:pt x="87" y="0"/>
                    </a:cubicBezTo>
                    <a:cubicBezTo>
                      <a:pt x="86" y="2"/>
                      <a:pt x="86" y="3"/>
                      <a:pt x="85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99" y="3"/>
                      <a:pt x="99" y="2"/>
                      <a:pt x="10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110"/>
              <p:cNvSpPr>
                <a:spLocks noEditPoints="1"/>
              </p:cNvSpPr>
              <p:nvPr/>
            </p:nvSpPr>
            <p:spPr bwMode="auto">
              <a:xfrm>
                <a:off x="835354" y="2424638"/>
                <a:ext cx="525645" cy="325040"/>
              </a:xfrm>
              <a:custGeom>
                <a:avLst/>
                <a:gdLst>
                  <a:gd name="T0" fmla="*/ 533 w 533"/>
                  <a:gd name="T1" fmla="*/ 97 h 328"/>
                  <a:gd name="T2" fmla="*/ 499 w 533"/>
                  <a:gd name="T3" fmla="*/ 97 h 328"/>
                  <a:gd name="T4" fmla="*/ 500 w 533"/>
                  <a:gd name="T5" fmla="*/ 101 h 328"/>
                  <a:gd name="T6" fmla="*/ 533 w 533"/>
                  <a:gd name="T7" fmla="*/ 101 h 328"/>
                  <a:gd name="T8" fmla="*/ 533 w 533"/>
                  <a:gd name="T9" fmla="*/ 97 h 328"/>
                  <a:gd name="T10" fmla="*/ 4 w 533"/>
                  <a:gd name="T11" fmla="*/ 0 h 328"/>
                  <a:gd name="T12" fmla="*/ 0 w 533"/>
                  <a:gd name="T13" fmla="*/ 0 h 328"/>
                  <a:gd name="T14" fmla="*/ 0 w 533"/>
                  <a:gd name="T15" fmla="*/ 196 h 328"/>
                  <a:gd name="T16" fmla="*/ 0 w 533"/>
                  <a:gd name="T17" fmla="*/ 200 h 328"/>
                  <a:gd name="T18" fmla="*/ 0 w 533"/>
                  <a:gd name="T19" fmla="*/ 288 h 328"/>
                  <a:gd name="T20" fmla="*/ 40 w 533"/>
                  <a:gd name="T21" fmla="*/ 328 h 328"/>
                  <a:gd name="T22" fmla="*/ 298 w 533"/>
                  <a:gd name="T23" fmla="*/ 328 h 328"/>
                  <a:gd name="T24" fmla="*/ 338 w 533"/>
                  <a:gd name="T25" fmla="*/ 288 h 328"/>
                  <a:gd name="T26" fmla="*/ 338 w 533"/>
                  <a:gd name="T27" fmla="*/ 200 h 328"/>
                  <a:gd name="T28" fmla="*/ 338 w 533"/>
                  <a:gd name="T29" fmla="*/ 196 h 328"/>
                  <a:gd name="T30" fmla="*/ 338 w 533"/>
                  <a:gd name="T31" fmla="*/ 137 h 328"/>
                  <a:gd name="T32" fmla="*/ 374 w 533"/>
                  <a:gd name="T33" fmla="*/ 101 h 328"/>
                  <a:gd name="T34" fmla="*/ 497 w 533"/>
                  <a:gd name="T35" fmla="*/ 101 h 328"/>
                  <a:gd name="T36" fmla="*/ 496 w 533"/>
                  <a:gd name="T37" fmla="*/ 97 h 328"/>
                  <a:gd name="T38" fmla="*/ 374 w 533"/>
                  <a:gd name="T39" fmla="*/ 97 h 328"/>
                  <a:gd name="T40" fmla="*/ 334 w 533"/>
                  <a:gd name="T41" fmla="*/ 137 h 328"/>
                  <a:gd name="T42" fmla="*/ 334 w 533"/>
                  <a:gd name="T43" fmla="*/ 196 h 328"/>
                  <a:gd name="T44" fmla="*/ 334 w 533"/>
                  <a:gd name="T45" fmla="*/ 200 h 328"/>
                  <a:gd name="T46" fmla="*/ 334 w 533"/>
                  <a:gd name="T47" fmla="*/ 288 h 328"/>
                  <a:gd name="T48" fmla="*/ 298 w 533"/>
                  <a:gd name="T49" fmla="*/ 324 h 328"/>
                  <a:gd name="T50" fmla="*/ 40 w 533"/>
                  <a:gd name="T51" fmla="*/ 324 h 328"/>
                  <a:gd name="T52" fmla="*/ 4 w 533"/>
                  <a:gd name="T53" fmla="*/ 288 h 328"/>
                  <a:gd name="T54" fmla="*/ 4 w 533"/>
                  <a:gd name="T55" fmla="*/ 200 h 328"/>
                  <a:gd name="T56" fmla="*/ 4 w 533"/>
                  <a:gd name="T57" fmla="*/ 196 h 328"/>
                  <a:gd name="T58" fmla="*/ 4 w 533"/>
                  <a:gd name="T59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3" h="328">
                    <a:moveTo>
                      <a:pt x="533" y="97"/>
                    </a:moveTo>
                    <a:cubicBezTo>
                      <a:pt x="499" y="97"/>
                      <a:pt x="499" y="97"/>
                      <a:pt x="499" y="97"/>
                    </a:cubicBezTo>
                    <a:cubicBezTo>
                      <a:pt x="500" y="98"/>
                      <a:pt x="500" y="100"/>
                      <a:pt x="500" y="101"/>
                    </a:cubicBezTo>
                    <a:cubicBezTo>
                      <a:pt x="533" y="101"/>
                      <a:pt x="533" y="101"/>
                      <a:pt x="533" y="101"/>
                    </a:cubicBezTo>
                    <a:cubicBezTo>
                      <a:pt x="533" y="97"/>
                      <a:pt x="533" y="97"/>
                      <a:pt x="533" y="97"/>
                    </a:cubicBezTo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6"/>
                      <a:pt x="0" y="196"/>
                      <a:pt x="0" y="196"/>
                    </a:cubicBezTo>
                    <a:cubicBezTo>
                      <a:pt x="0" y="200"/>
                      <a:pt x="0" y="200"/>
                      <a:pt x="0" y="200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310"/>
                      <a:pt x="18" y="328"/>
                      <a:pt x="40" y="328"/>
                    </a:cubicBezTo>
                    <a:cubicBezTo>
                      <a:pt x="298" y="328"/>
                      <a:pt x="298" y="328"/>
                      <a:pt x="298" y="328"/>
                    </a:cubicBezTo>
                    <a:cubicBezTo>
                      <a:pt x="320" y="328"/>
                      <a:pt x="338" y="310"/>
                      <a:pt x="338" y="288"/>
                    </a:cubicBezTo>
                    <a:cubicBezTo>
                      <a:pt x="338" y="200"/>
                      <a:pt x="338" y="200"/>
                      <a:pt x="338" y="200"/>
                    </a:cubicBezTo>
                    <a:cubicBezTo>
                      <a:pt x="338" y="196"/>
                      <a:pt x="338" y="196"/>
                      <a:pt x="338" y="196"/>
                    </a:cubicBezTo>
                    <a:cubicBezTo>
                      <a:pt x="338" y="137"/>
                      <a:pt x="338" y="137"/>
                      <a:pt x="338" y="137"/>
                    </a:cubicBezTo>
                    <a:cubicBezTo>
                      <a:pt x="338" y="117"/>
                      <a:pt x="354" y="101"/>
                      <a:pt x="374" y="101"/>
                    </a:cubicBezTo>
                    <a:cubicBezTo>
                      <a:pt x="497" y="101"/>
                      <a:pt x="497" y="101"/>
                      <a:pt x="497" y="101"/>
                    </a:cubicBezTo>
                    <a:cubicBezTo>
                      <a:pt x="497" y="100"/>
                      <a:pt x="497" y="98"/>
                      <a:pt x="496" y="97"/>
                    </a:cubicBezTo>
                    <a:cubicBezTo>
                      <a:pt x="374" y="97"/>
                      <a:pt x="374" y="97"/>
                      <a:pt x="374" y="97"/>
                    </a:cubicBezTo>
                    <a:cubicBezTo>
                      <a:pt x="352" y="97"/>
                      <a:pt x="334" y="115"/>
                      <a:pt x="334" y="137"/>
                    </a:cubicBezTo>
                    <a:cubicBezTo>
                      <a:pt x="334" y="196"/>
                      <a:pt x="334" y="196"/>
                      <a:pt x="334" y="196"/>
                    </a:cubicBezTo>
                    <a:cubicBezTo>
                      <a:pt x="334" y="200"/>
                      <a:pt x="334" y="200"/>
                      <a:pt x="334" y="200"/>
                    </a:cubicBezTo>
                    <a:cubicBezTo>
                      <a:pt x="334" y="288"/>
                      <a:pt x="334" y="288"/>
                      <a:pt x="334" y="288"/>
                    </a:cubicBezTo>
                    <a:cubicBezTo>
                      <a:pt x="334" y="308"/>
                      <a:pt x="318" y="324"/>
                      <a:pt x="298" y="324"/>
                    </a:cubicBezTo>
                    <a:cubicBezTo>
                      <a:pt x="40" y="324"/>
                      <a:pt x="40" y="324"/>
                      <a:pt x="40" y="324"/>
                    </a:cubicBezTo>
                    <a:cubicBezTo>
                      <a:pt x="20" y="324"/>
                      <a:pt x="4" y="308"/>
                      <a:pt x="4" y="288"/>
                    </a:cubicBezTo>
                    <a:cubicBezTo>
                      <a:pt x="4" y="200"/>
                      <a:pt x="4" y="200"/>
                      <a:pt x="4" y="200"/>
                    </a:cubicBezTo>
                    <a:cubicBezTo>
                      <a:pt x="4" y="196"/>
                      <a:pt x="4" y="196"/>
                      <a:pt x="4" y="196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" name="Freeform 111"/>
              <p:cNvSpPr>
                <a:spLocks/>
              </p:cNvSpPr>
              <p:nvPr/>
            </p:nvSpPr>
            <p:spPr bwMode="auto">
              <a:xfrm>
                <a:off x="1324045" y="2521169"/>
                <a:ext cx="4525" cy="3771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1 w 4"/>
                  <a:gd name="T5" fmla="*/ 4 h 4"/>
                  <a:gd name="T6" fmla="*/ 4 w 4"/>
                  <a:gd name="T7" fmla="*/ 4 h 4"/>
                  <a:gd name="T8" fmla="*/ 3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3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1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Freeform 112"/>
              <p:cNvSpPr>
                <a:spLocks noEditPoints="1"/>
              </p:cNvSpPr>
              <p:nvPr/>
            </p:nvSpPr>
            <p:spPr bwMode="auto">
              <a:xfrm>
                <a:off x="-41727" y="2095074"/>
                <a:ext cx="1130476" cy="329565"/>
              </a:xfrm>
              <a:custGeom>
                <a:avLst/>
                <a:gdLst>
                  <a:gd name="T0" fmla="*/ 638 w 1146"/>
                  <a:gd name="T1" fmla="*/ 253 h 333"/>
                  <a:gd name="T2" fmla="*/ 635 w 1146"/>
                  <a:gd name="T3" fmla="*/ 253 h 333"/>
                  <a:gd name="T4" fmla="*/ 635 w 1146"/>
                  <a:gd name="T5" fmla="*/ 268 h 333"/>
                  <a:gd name="T6" fmla="*/ 635 w 1146"/>
                  <a:gd name="T7" fmla="*/ 272 h 333"/>
                  <a:gd name="T8" fmla="*/ 635 w 1146"/>
                  <a:gd name="T9" fmla="*/ 293 h 333"/>
                  <a:gd name="T10" fmla="*/ 675 w 1146"/>
                  <a:gd name="T11" fmla="*/ 333 h 333"/>
                  <a:gd name="T12" fmla="*/ 889 w 1146"/>
                  <a:gd name="T13" fmla="*/ 333 h 333"/>
                  <a:gd name="T14" fmla="*/ 893 w 1146"/>
                  <a:gd name="T15" fmla="*/ 333 h 333"/>
                  <a:gd name="T16" fmla="*/ 1146 w 1146"/>
                  <a:gd name="T17" fmla="*/ 333 h 333"/>
                  <a:gd name="T18" fmla="*/ 1146 w 1146"/>
                  <a:gd name="T19" fmla="*/ 329 h 333"/>
                  <a:gd name="T20" fmla="*/ 893 w 1146"/>
                  <a:gd name="T21" fmla="*/ 329 h 333"/>
                  <a:gd name="T22" fmla="*/ 889 w 1146"/>
                  <a:gd name="T23" fmla="*/ 329 h 333"/>
                  <a:gd name="T24" fmla="*/ 675 w 1146"/>
                  <a:gd name="T25" fmla="*/ 329 h 333"/>
                  <a:gd name="T26" fmla="*/ 638 w 1146"/>
                  <a:gd name="T27" fmla="*/ 293 h 333"/>
                  <a:gd name="T28" fmla="*/ 638 w 1146"/>
                  <a:gd name="T29" fmla="*/ 272 h 333"/>
                  <a:gd name="T30" fmla="*/ 638 w 1146"/>
                  <a:gd name="T31" fmla="*/ 268 h 333"/>
                  <a:gd name="T32" fmla="*/ 638 w 1146"/>
                  <a:gd name="T33" fmla="*/ 253 h 333"/>
                  <a:gd name="T34" fmla="*/ 638 w 1146"/>
                  <a:gd name="T35" fmla="*/ 133 h 333"/>
                  <a:gd name="T36" fmla="*/ 635 w 1146"/>
                  <a:gd name="T37" fmla="*/ 134 h 333"/>
                  <a:gd name="T38" fmla="*/ 635 w 1146"/>
                  <a:gd name="T39" fmla="*/ 246 h 333"/>
                  <a:gd name="T40" fmla="*/ 638 w 1146"/>
                  <a:gd name="T41" fmla="*/ 246 h 333"/>
                  <a:gd name="T42" fmla="*/ 638 w 1146"/>
                  <a:gd name="T43" fmla="*/ 133 h 333"/>
                  <a:gd name="T44" fmla="*/ 598 w 1146"/>
                  <a:gd name="T45" fmla="*/ 0 h 333"/>
                  <a:gd name="T46" fmla="*/ 406 w 1146"/>
                  <a:gd name="T47" fmla="*/ 0 h 333"/>
                  <a:gd name="T48" fmla="*/ 402 w 1146"/>
                  <a:gd name="T49" fmla="*/ 0 h 333"/>
                  <a:gd name="T50" fmla="*/ 0 w 1146"/>
                  <a:gd name="T51" fmla="*/ 0 h 333"/>
                  <a:gd name="T52" fmla="*/ 0 w 1146"/>
                  <a:gd name="T53" fmla="*/ 3 h 333"/>
                  <a:gd name="T54" fmla="*/ 402 w 1146"/>
                  <a:gd name="T55" fmla="*/ 3 h 333"/>
                  <a:gd name="T56" fmla="*/ 406 w 1146"/>
                  <a:gd name="T57" fmla="*/ 3 h 333"/>
                  <a:gd name="T58" fmla="*/ 598 w 1146"/>
                  <a:gd name="T59" fmla="*/ 3 h 333"/>
                  <a:gd name="T60" fmla="*/ 635 w 1146"/>
                  <a:gd name="T61" fmla="*/ 40 h 333"/>
                  <a:gd name="T62" fmla="*/ 635 w 1146"/>
                  <a:gd name="T63" fmla="*/ 104 h 333"/>
                  <a:gd name="T64" fmla="*/ 638 w 1146"/>
                  <a:gd name="T65" fmla="*/ 104 h 333"/>
                  <a:gd name="T66" fmla="*/ 638 w 1146"/>
                  <a:gd name="T67" fmla="*/ 40 h 333"/>
                  <a:gd name="T68" fmla="*/ 598 w 1146"/>
                  <a:gd name="T69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46" h="333">
                    <a:moveTo>
                      <a:pt x="638" y="253"/>
                    </a:moveTo>
                    <a:cubicBezTo>
                      <a:pt x="635" y="253"/>
                      <a:pt x="635" y="253"/>
                      <a:pt x="635" y="253"/>
                    </a:cubicBezTo>
                    <a:cubicBezTo>
                      <a:pt x="635" y="268"/>
                      <a:pt x="635" y="268"/>
                      <a:pt x="635" y="268"/>
                    </a:cubicBezTo>
                    <a:cubicBezTo>
                      <a:pt x="635" y="272"/>
                      <a:pt x="635" y="272"/>
                      <a:pt x="635" y="272"/>
                    </a:cubicBezTo>
                    <a:cubicBezTo>
                      <a:pt x="635" y="293"/>
                      <a:pt x="635" y="293"/>
                      <a:pt x="635" y="293"/>
                    </a:cubicBezTo>
                    <a:cubicBezTo>
                      <a:pt x="635" y="315"/>
                      <a:pt x="653" y="333"/>
                      <a:pt x="675" y="333"/>
                    </a:cubicBezTo>
                    <a:cubicBezTo>
                      <a:pt x="889" y="333"/>
                      <a:pt x="889" y="333"/>
                      <a:pt x="889" y="333"/>
                    </a:cubicBezTo>
                    <a:cubicBezTo>
                      <a:pt x="893" y="333"/>
                      <a:pt x="893" y="333"/>
                      <a:pt x="893" y="333"/>
                    </a:cubicBezTo>
                    <a:cubicBezTo>
                      <a:pt x="1146" y="333"/>
                      <a:pt x="1146" y="333"/>
                      <a:pt x="1146" y="333"/>
                    </a:cubicBezTo>
                    <a:cubicBezTo>
                      <a:pt x="1146" y="329"/>
                      <a:pt x="1146" y="329"/>
                      <a:pt x="1146" y="329"/>
                    </a:cubicBezTo>
                    <a:cubicBezTo>
                      <a:pt x="893" y="329"/>
                      <a:pt x="893" y="329"/>
                      <a:pt x="893" y="329"/>
                    </a:cubicBezTo>
                    <a:cubicBezTo>
                      <a:pt x="889" y="329"/>
                      <a:pt x="889" y="329"/>
                      <a:pt x="889" y="329"/>
                    </a:cubicBezTo>
                    <a:cubicBezTo>
                      <a:pt x="675" y="329"/>
                      <a:pt x="675" y="329"/>
                      <a:pt x="675" y="329"/>
                    </a:cubicBezTo>
                    <a:cubicBezTo>
                      <a:pt x="655" y="329"/>
                      <a:pt x="638" y="313"/>
                      <a:pt x="638" y="293"/>
                    </a:cubicBezTo>
                    <a:cubicBezTo>
                      <a:pt x="638" y="272"/>
                      <a:pt x="638" y="272"/>
                      <a:pt x="638" y="272"/>
                    </a:cubicBezTo>
                    <a:cubicBezTo>
                      <a:pt x="638" y="268"/>
                      <a:pt x="638" y="268"/>
                      <a:pt x="638" y="268"/>
                    </a:cubicBezTo>
                    <a:cubicBezTo>
                      <a:pt x="638" y="253"/>
                      <a:pt x="638" y="253"/>
                      <a:pt x="638" y="253"/>
                    </a:cubicBezTo>
                    <a:moveTo>
                      <a:pt x="638" y="133"/>
                    </a:moveTo>
                    <a:cubicBezTo>
                      <a:pt x="637" y="134"/>
                      <a:pt x="636" y="134"/>
                      <a:pt x="635" y="134"/>
                    </a:cubicBezTo>
                    <a:cubicBezTo>
                      <a:pt x="635" y="246"/>
                      <a:pt x="635" y="246"/>
                      <a:pt x="635" y="246"/>
                    </a:cubicBezTo>
                    <a:cubicBezTo>
                      <a:pt x="638" y="246"/>
                      <a:pt x="638" y="246"/>
                      <a:pt x="638" y="246"/>
                    </a:cubicBezTo>
                    <a:cubicBezTo>
                      <a:pt x="638" y="133"/>
                      <a:pt x="638" y="133"/>
                      <a:pt x="638" y="133"/>
                    </a:cubicBezTo>
                    <a:moveTo>
                      <a:pt x="598" y="0"/>
                    </a:moveTo>
                    <a:cubicBezTo>
                      <a:pt x="406" y="0"/>
                      <a:pt x="406" y="0"/>
                      <a:pt x="406" y="0"/>
                    </a:cubicBezTo>
                    <a:cubicBezTo>
                      <a:pt x="402" y="0"/>
                      <a:pt x="402" y="0"/>
                      <a:pt x="40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02" y="3"/>
                      <a:pt x="402" y="3"/>
                      <a:pt x="402" y="3"/>
                    </a:cubicBezTo>
                    <a:cubicBezTo>
                      <a:pt x="406" y="3"/>
                      <a:pt x="406" y="3"/>
                      <a:pt x="406" y="3"/>
                    </a:cubicBezTo>
                    <a:cubicBezTo>
                      <a:pt x="598" y="3"/>
                      <a:pt x="598" y="3"/>
                      <a:pt x="598" y="3"/>
                    </a:cubicBezTo>
                    <a:cubicBezTo>
                      <a:pt x="618" y="3"/>
                      <a:pt x="635" y="20"/>
                      <a:pt x="635" y="40"/>
                    </a:cubicBezTo>
                    <a:cubicBezTo>
                      <a:pt x="635" y="104"/>
                      <a:pt x="635" y="104"/>
                      <a:pt x="635" y="104"/>
                    </a:cubicBezTo>
                    <a:cubicBezTo>
                      <a:pt x="636" y="104"/>
                      <a:pt x="637" y="104"/>
                      <a:pt x="638" y="104"/>
                    </a:cubicBezTo>
                    <a:cubicBezTo>
                      <a:pt x="638" y="40"/>
                      <a:pt x="638" y="40"/>
                      <a:pt x="638" y="40"/>
                    </a:cubicBezTo>
                    <a:cubicBezTo>
                      <a:pt x="638" y="18"/>
                      <a:pt x="620" y="0"/>
                      <a:pt x="598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" name="Rectangle 113"/>
              <p:cNvSpPr>
                <a:spLocks noChangeArrowheads="1"/>
              </p:cNvSpPr>
              <p:nvPr/>
            </p:nvSpPr>
            <p:spPr bwMode="auto">
              <a:xfrm>
                <a:off x="584974" y="2338664"/>
                <a:ext cx="2263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" name="Rectangle 114"/>
              <p:cNvSpPr>
                <a:spLocks noChangeArrowheads="1"/>
              </p:cNvSpPr>
              <p:nvPr/>
            </p:nvSpPr>
            <p:spPr bwMode="auto">
              <a:xfrm>
                <a:off x="584974" y="2338664"/>
                <a:ext cx="2263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" name="Freeform 125"/>
              <p:cNvSpPr>
                <a:spLocks/>
              </p:cNvSpPr>
              <p:nvPr/>
            </p:nvSpPr>
            <p:spPr bwMode="auto">
              <a:xfrm>
                <a:off x="1623444" y="2619209"/>
                <a:ext cx="4525" cy="3771"/>
              </a:xfrm>
              <a:custGeom>
                <a:avLst/>
                <a:gdLst>
                  <a:gd name="T0" fmla="*/ 5 w 5"/>
                  <a:gd name="T1" fmla="*/ 0 h 4"/>
                  <a:gd name="T2" fmla="*/ 0 w 5"/>
                  <a:gd name="T3" fmla="*/ 0 h 4"/>
                  <a:gd name="T4" fmla="*/ 0 w 5"/>
                  <a:gd name="T5" fmla="*/ 4 h 4"/>
                  <a:gd name="T6" fmla="*/ 5 w 5"/>
                  <a:gd name="T7" fmla="*/ 4 h 4"/>
                  <a:gd name="T8" fmla="*/ 5 w 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" name="Freeform 134"/>
              <p:cNvSpPr>
                <a:spLocks noEditPoints="1"/>
              </p:cNvSpPr>
              <p:nvPr/>
            </p:nvSpPr>
            <p:spPr bwMode="auto">
              <a:xfrm>
                <a:off x="1088749" y="2391455"/>
                <a:ext cx="61841" cy="64103"/>
              </a:xfrm>
              <a:custGeom>
                <a:avLst/>
                <a:gdLst>
                  <a:gd name="T0" fmla="*/ 7 w 63"/>
                  <a:gd name="T1" fmla="*/ 32 h 65"/>
                  <a:gd name="T2" fmla="*/ 7 w 63"/>
                  <a:gd name="T3" fmla="*/ 32 h 65"/>
                  <a:gd name="T4" fmla="*/ 32 w 63"/>
                  <a:gd name="T5" fmla="*/ 7 h 65"/>
                  <a:gd name="T6" fmla="*/ 56 w 63"/>
                  <a:gd name="T7" fmla="*/ 32 h 65"/>
                  <a:gd name="T8" fmla="*/ 56 w 63"/>
                  <a:gd name="T9" fmla="*/ 32 h 65"/>
                  <a:gd name="T10" fmla="*/ 56 w 63"/>
                  <a:gd name="T11" fmla="*/ 32 h 65"/>
                  <a:gd name="T12" fmla="*/ 32 w 63"/>
                  <a:gd name="T13" fmla="*/ 57 h 65"/>
                  <a:gd name="T14" fmla="*/ 7 w 63"/>
                  <a:gd name="T15" fmla="*/ 32 h 65"/>
                  <a:gd name="T16" fmla="*/ 7 w 63"/>
                  <a:gd name="T17" fmla="*/ 32 h 65"/>
                  <a:gd name="T18" fmla="*/ 32 w 63"/>
                  <a:gd name="T19" fmla="*/ 0 h 65"/>
                  <a:gd name="T20" fmla="*/ 0 w 63"/>
                  <a:gd name="T21" fmla="*/ 32 h 65"/>
                  <a:gd name="T22" fmla="*/ 32 w 63"/>
                  <a:gd name="T23" fmla="*/ 65 h 65"/>
                  <a:gd name="T24" fmla="*/ 63 w 63"/>
                  <a:gd name="T25" fmla="*/ 32 h 65"/>
                  <a:gd name="T26" fmla="*/ 32 w 63"/>
                  <a:gd name="T2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65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7" y="18"/>
                      <a:pt x="18" y="7"/>
                      <a:pt x="32" y="7"/>
                    </a:cubicBezTo>
                    <a:cubicBezTo>
                      <a:pt x="45" y="7"/>
                      <a:pt x="56" y="18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6" y="46"/>
                      <a:pt x="45" y="57"/>
                      <a:pt x="32" y="57"/>
                    </a:cubicBezTo>
                    <a:cubicBezTo>
                      <a:pt x="18" y="57"/>
                      <a:pt x="7" y="46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  <a:cubicBezTo>
                      <a:pt x="0" y="50"/>
                      <a:pt x="14" y="65"/>
                      <a:pt x="32" y="65"/>
                    </a:cubicBezTo>
                    <a:cubicBezTo>
                      <a:pt x="49" y="65"/>
                      <a:pt x="63" y="50"/>
                      <a:pt x="63" y="32"/>
                    </a:cubicBezTo>
                    <a:cubicBezTo>
                      <a:pt x="63" y="14"/>
                      <a:pt x="49" y="0"/>
                      <a:pt x="3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" name="Freeform 138"/>
              <p:cNvSpPr>
                <a:spLocks noEditPoints="1"/>
              </p:cNvSpPr>
              <p:nvPr/>
            </p:nvSpPr>
            <p:spPr bwMode="auto">
              <a:xfrm>
                <a:off x="1545012" y="2771548"/>
                <a:ext cx="63349" cy="64103"/>
              </a:xfrm>
              <a:custGeom>
                <a:avLst/>
                <a:gdLst>
                  <a:gd name="T0" fmla="*/ 7 w 64"/>
                  <a:gd name="T1" fmla="*/ 32 h 65"/>
                  <a:gd name="T2" fmla="*/ 7 w 64"/>
                  <a:gd name="T3" fmla="*/ 32 h 65"/>
                  <a:gd name="T4" fmla="*/ 32 w 64"/>
                  <a:gd name="T5" fmla="*/ 7 h 65"/>
                  <a:gd name="T6" fmla="*/ 57 w 64"/>
                  <a:gd name="T7" fmla="*/ 32 h 65"/>
                  <a:gd name="T8" fmla="*/ 57 w 64"/>
                  <a:gd name="T9" fmla="*/ 32 h 65"/>
                  <a:gd name="T10" fmla="*/ 57 w 64"/>
                  <a:gd name="T11" fmla="*/ 32 h 65"/>
                  <a:gd name="T12" fmla="*/ 32 w 64"/>
                  <a:gd name="T13" fmla="*/ 57 h 65"/>
                  <a:gd name="T14" fmla="*/ 7 w 64"/>
                  <a:gd name="T15" fmla="*/ 32 h 65"/>
                  <a:gd name="T16" fmla="*/ 7 w 64"/>
                  <a:gd name="T17" fmla="*/ 32 h 65"/>
                  <a:gd name="T18" fmla="*/ 32 w 64"/>
                  <a:gd name="T19" fmla="*/ 0 h 65"/>
                  <a:gd name="T20" fmla="*/ 0 w 64"/>
                  <a:gd name="T21" fmla="*/ 32 h 65"/>
                  <a:gd name="T22" fmla="*/ 32 w 64"/>
                  <a:gd name="T23" fmla="*/ 65 h 65"/>
                  <a:gd name="T24" fmla="*/ 64 w 64"/>
                  <a:gd name="T25" fmla="*/ 32 h 65"/>
                  <a:gd name="T26" fmla="*/ 32 w 64"/>
                  <a:gd name="T2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" h="65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7" y="18"/>
                      <a:pt x="18" y="7"/>
                      <a:pt x="32" y="7"/>
                    </a:cubicBezTo>
                    <a:cubicBezTo>
                      <a:pt x="46" y="7"/>
                      <a:pt x="57" y="18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46"/>
                      <a:pt x="46" y="57"/>
                      <a:pt x="32" y="57"/>
                    </a:cubicBezTo>
                    <a:cubicBezTo>
                      <a:pt x="18" y="57"/>
                      <a:pt x="7" y="46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  <a:cubicBezTo>
                      <a:pt x="0" y="50"/>
                      <a:pt x="14" y="65"/>
                      <a:pt x="32" y="65"/>
                    </a:cubicBezTo>
                    <a:cubicBezTo>
                      <a:pt x="50" y="65"/>
                      <a:pt x="64" y="50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" name="Freeform 141"/>
              <p:cNvSpPr>
                <a:spLocks noEditPoints="1"/>
              </p:cNvSpPr>
              <p:nvPr/>
            </p:nvSpPr>
            <p:spPr bwMode="auto">
              <a:xfrm>
                <a:off x="1360999" y="2491003"/>
                <a:ext cx="63349" cy="64857"/>
              </a:xfrm>
              <a:custGeom>
                <a:avLst/>
                <a:gdLst>
                  <a:gd name="T0" fmla="*/ 7 w 64"/>
                  <a:gd name="T1" fmla="*/ 32 h 65"/>
                  <a:gd name="T2" fmla="*/ 7 w 64"/>
                  <a:gd name="T3" fmla="*/ 32 h 65"/>
                  <a:gd name="T4" fmla="*/ 32 w 64"/>
                  <a:gd name="T5" fmla="*/ 7 h 65"/>
                  <a:gd name="T6" fmla="*/ 57 w 64"/>
                  <a:gd name="T7" fmla="*/ 32 h 65"/>
                  <a:gd name="T8" fmla="*/ 57 w 64"/>
                  <a:gd name="T9" fmla="*/ 32 h 65"/>
                  <a:gd name="T10" fmla="*/ 57 w 64"/>
                  <a:gd name="T11" fmla="*/ 32 h 65"/>
                  <a:gd name="T12" fmla="*/ 32 w 64"/>
                  <a:gd name="T13" fmla="*/ 57 h 65"/>
                  <a:gd name="T14" fmla="*/ 7 w 64"/>
                  <a:gd name="T15" fmla="*/ 32 h 65"/>
                  <a:gd name="T16" fmla="*/ 7 w 64"/>
                  <a:gd name="T17" fmla="*/ 32 h 65"/>
                  <a:gd name="T18" fmla="*/ 32 w 64"/>
                  <a:gd name="T19" fmla="*/ 0 h 65"/>
                  <a:gd name="T20" fmla="*/ 0 w 64"/>
                  <a:gd name="T21" fmla="*/ 32 h 65"/>
                  <a:gd name="T22" fmla="*/ 32 w 64"/>
                  <a:gd name="T23" fmla="*/ 65 h 65"/>
                  <a:gd name="T24" fmla="*/ 64 w 64"/>
                  <a:gd name="T25" fmla="*/ 32 h 65"/>
                  <a:gd name="T26" fmla="*/ 32 w 64"/>
                  <a:gd name="T2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" h="65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7" y="18"/>
                      <a:pt x="18" y="7"/>
                      <a:pt x="32" y="7"/>
                    </a:cubicBezTo>
                    <a:cubicBezTo>
                      <a:pt x="46" y="7"/>
                      <a:pt x="57" y="18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46"/>
                      <a:pt x="46" y="57"/>
                      <a:pt x="32" y="57"/>
                    </a:cubicBezTo>
                    <a:cubicBezTo>
                      <a:pt x="18" y="57"/>
                      <a:pt x="7" y="46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moveTo>
                      <a:pt x="32" y="0"/>
                    </a:moveTo>
                    <a:cubicBezTo>
                      <a:pt x="15" y="0"/>
                      <a:pt x="0" y="14"/>
                      <a:pt x="0" y="32"/>
                    </a:cubicBezTo>
                    <a:cubicBezTo>
                      <a:pt x="0" y="50"/>
                      <a:pt x="15" y="65"/>
                      <a:pt x="32" y="65"/>
                    </a:cubicBezTo>
                    <a:cubicBezTo>
                      <a:pt x="50" y="65"/>
                      <a:pt x="64" y="50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" name="Oval 162"/>
              <p:cNvSpPr>
                <a:spLocks noChangeArrowheads="1"/>
              </p:cNvSpPr>
              <p:nvPr/>
            </p:nvSpPr>
            <p:spPr bwMode="auto">
              <a:xfrm>
                <a:off x="1660398" y="2603373"/>
                <a:ext cx="30920" cy="29412"/>
              </a:xfrm>
              <a:prstGeom prst="ellipse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" name="Freeform 163"/>
              <p:cNvSpPr>
                <a:spLocks noEditPoints="1"/>
              </p:cNvSpPr>
              <p:nvPr/>
            </p:nvSpPr>
            <p:spPr bwMode="auto">
              <a:xfrm>
                <a:off x="1345916" y="2603373"/>
                <a:ext cx="29412" cy="15837"/>
              </a:xfrm>
              <a:custGeom>
                <a:avLst/>
                <a:gdLst>
                  <a:gd name="T0" fmla="*/ 8 w 30"/>
                  <a:gd name="T1" fmla="*/ 2 h 16"/>
                  <a:gd name="T2" fmla="*/ 0 w 30"/>
                  <a:gd name="T3" fmla="*/ 15 h 16"/>
                  <a:gd name="T4" fmla="*/ 0 w 30"/>
                  <a:gd name="T5" fmla="*/ 16 h 16"/>
                  <a:gd name="T6" fmla="*/ 14 w 30"/>
                  <a:gd name="T7" fmla="*/ 16 h 16"/>
                  <a:gd name="T8" fmla="*/ 8 w 30"/>
                  <a:gd name="T9" fmla="*/ 2 h 16"/>
                  <a:gd name="T10" fmla="*/ 15 w 30"/>
                  <a:gd name="T11" fmla="*/ 0 h 16"/>
                  <a:gd name="T12" fmla="*/ 10 w 30"/>
                  <a:gd name="T13" fmla="*/ 1 h 16"/>
                  <a:gd name="T14" fmla="*/ 17 w 30"/>
                  <a:gd name="T15" fmla="*/ 16 h 16"/>
                  <a:gd name="T16" fmla="*/ 30 w 30"/>
                  <a:gd name="T17" fmla="*/ 16 h 16"/>
                  <a:gd name="T18" fmla="*/ 30 w 30"/>
                  <a:gd name="T19" fmla="*/ 15 h 16"/>
                  <a:gd name="T20" fmla="*/ 15 w 30"/>
                  <a:gd name="T2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16">
                    <a:moveTo>
                      <a:pt x="8" y="2"/>
                    </a:moveTo>
                    <a:cubicBezTo>
                      <a:pt x="3" y="5"/>
                      <a:pt x="0" y="10"/>
                      <a:pt x="0" y="15"/>
                    </a:cubicBezTo>
                    <a:cubicBezTo>
                      <a:pt x="0" y="15"/>
                      <a:pt x="0" y="16"/>
                      <a:pt x="0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2" y="11"/>
                      <a:pt x="10" y="7"/>
                      <a:pt x="8" y="2"/>
                    </a:cubicBezTo>
                    <a:moveTo>
                      <a:pt x="15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2" y="6"/>
                      <a:pt x="15" y="11"/>
                      <a:pt x="17" y="16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0" y="15"/>
                      <a:pt x="30" y="15"/>
                    </a:cubicBezTo>
                    <a:cubicBezTo>
                      <a:pt x="30" y="7"/>
                      <a:pt x="24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" name="Freeform 164"/>
              <p:cNvSpPr>
                <a:spLocks/>
              </p:cNvSpPr>
              <p:nvPr/>
            </p:nvSpPr>
            <p:spPr bwMode="auto">
              <a:xfrm>
                <a:off x="1354211" y="2604126"/>
                <a:ext cx="8296" cy="15083"/>
              </a:xfrm>
              <a:custGeom>
                <a:avLst/>
                <a:gdLst>
                  <a:gd name="T0" fmla="*/ 2 w 9"/>
                  <a:gd name="T1" fmla="*/ 0 h 15"/>
                  <a:gd name="T2" fmla="*/ 0 w 9"/>
                  <a:gd name="T3" fmla="*/ 1 h 15"/>
                  <a:gd name="T4" fmla="*/ 6 w 9"/>
                  <a:gd name="T5" fmla="*/ 15 h 15"/>
                  <a:gd name="T6" fmla="*/ 9 w 9"/>
                  <a:gd name="T7" fmla="*/ 15 h 15"/>
                  <a:gd name="T8" fmla="*/ 2 w 9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2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2" y="6"/>
                      <a:pt x="4" y="10"/>
                      <a:pt x="6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7" y="10"/>
                      <a:pt x="4" y="5"/>
                      <a:pt x="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" name="Freeform 165"/>
              <p:cNvSpPr>
                <a:spLocks noEditPoints="1"/>
              </p:cNvSpPr>
              <p:nvPr/>
            </p:nvSpPr>
            <p:spPr bwMode="auto">
              <a:xfrm>
                <a:off x="1347424" y="2622980"/>
                <a:ext cx="27904" cy="9804"/>
              </a:xfrm>
              <a:custGeom>
                <a:avLst/>
                <a:gdLst>
                  <a:gd name="T0" fmla="*/ 15 w 29"/>
                  <a:gd name="T1" fmla="*/ 0 h 10"/>
                  <a:gd name="T2" fmla="*/ 0 w 29"/>
                  <a:gd name="T3" fmla="*/ 0 h 10"/>
                  <a:gd name="T4" fmla="*/ 14 w 29"/>
                  <a:gd name="T5" fmla="*/ 10 h 10"/>
                  <a:gd name="T6" fmla="*/ 19 w 29"/>
                  <a:gd name="T7" fmla="*/ 10 h 10"/>
                  <a:gd name="T8" fmla="*/ 15 w 29"/>
                  <a:gd name="T9" fmla="*/ 0 h 10"/>
                  <a:gd name="T10" fmla="*/ 29 w 29"/>
                  <a:gd name="T11" fmla="*/ 0 h 10"/>
                  <a:gd name="T12" fmla="*/ 18 w 29"/>
                  <a:gd name="T13" fmla="*/ 0 h 10"/>
                  <a:gd name="T14" fmla="*/ 22 w 29"/>
                  <a:gd name="T15" fmla="*/ 8 h 10"/>
                  <a:gd name="T16" fmla="*/ 29 w 29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0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6"/>
                      <a:pt x="7" y="10"/>
                      <a:pt x="14" y="10"/>
                    </a:cubicBezTo>
                    <a:cubicBezTo>
                      <a:pt x="16" y="10"/>
                      <a:pt x="18" y="10"/>
                      <a:pt x="19" y="10"/>
                    </a:cubicBezTo>
                    <a:cubicBezTo>
                      <a:pt x="18" y="6"/>
                      <a:pt x="16" y="3"/>
                      <a:pt x="15" y="0"/>
                    </a:cubicBezTo>
                    <a:moveTo>
                      <a:pt x="29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9" y="3"/>
                      <a:pt x="20" y="6"/>
                      <a:pt x="22" y="8"/>
                    </a:cubicBezTo>
                    <a:cubicBezTo>
                      <a:pt x="25" y="7"/>
                      <a:pt x="28" y="3"/>
                      <a:pt x="29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" name="Freeform 166"/>
              <p:cNvSpPr>
                <a:spLocks/>
              </p:cNvSpPr>
              <p:nvPr/>
            </p:nvSpPr>
            <p:spPr bwMode="auto">
              <a:xfrm>
                <a:off x="1361752" y="2622980"/>
                <a:ext cx="6787" cy="9804"/>
              </a:xfrm>
              <a:custGeom>
                <a:avLst/>
                <a:gdLst>
                  <a:gd name="T0" fmla="*/ 3 w 7"/>
                  <a:gd name="T1" fmla="*/ 0 h 10"/>
                  <a:gd name="T2" fmla="*/ 0 w 7"/>
                  <a:gd name="T3" fmla="*/ 0 h 10"/>
                  <a:gd name="T4" fmla="*/ 4 w 7"/>
                  <a:gd name="T5" fmla="*/ 10 h 10"/>
                  <a:gd name="T6" fmla="*/ 7 w 7"/>
                  <a:gd name="T7" fmla="*/ 8 h 10"/>
                  <a:gd name="T8" fmla="*/ 3 w 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3" y="6"/>
                      <a:pt x="4" y="10"/>
                    </a:cubicBezTo>
                    <a:cubicBezTo>
                      <a:pt x="5" y="9"/>
                      <a:pt x="6" y="9"/>
                      <a:pt x="7" y="8"/>
                    </a:cubicBezTo>
                    <a:cubicBezTo>
                      <a:pt x="5" y="6"/>
                      <a:pt x="4" y="3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" name="Freeform 167"/>
              <p:cNvSpPr>
                <a:spLocks noEditPoints="1"/>
              </p:cNvSpPr>
              <p:nvPr/>
            </p:nvSpPr>
            <p:spPr bwMode="auto">
              <a:xfrm>
                <a:off x="1345916" y="2619209"/>
                <a:ext cx="29412" cy="3771"/>
              </a:xfrm>
              <a:custGeom>
                <a:avLst/>
                <a:gdLst>
                  <a:gd name="T0" fmla="*/ 14 w 30"/>
                  <a:gd name="T1" fmla="*/ 0 h 4"/>
                  <a:gd name="T2" fmla="*/ 0 w 30"/>
                  <a:gd name="T3" fmla="*/ 0 h 4"/>
                  <a:gd name="T4" fmla="*/ 1 w 30"/>
                  <a:gd name="T5" fmla="*/ 4 h 4"/>
                  <a:gd name="T6" fmla="*/ 16 w 30"/>
                  <a:gd name="T7" fmla="*/ 4 h 4"/>
                  <a:gd name="T8" fmla="*/ 14 w 30"/>
                  <a:gd name="T9" fmla="*/ 0 h 4"/>
                  <a:gd name="T10" fmla="*/ 30 w 30"/>
                  <a:gd name="T11" fmla="*/ 0 h 4"/>
                  <a:gd name="T12" fmla="*/ 17 w 30"/>
                  <a:gd name="T13" fmla="*/ 0 h 4"/>
                  <a:gd name="T14" fmla="*/ 19 w 30"/>
                  <a:gd name="T15" fmla="*/ 4 h 4"/>
                  <a:gd name="T16" fmla="*/ 30 w 30"/>
                  <a:gd name="T17" fmla="*/ 4 h 4"/>
                  <a:gd name="T18" fmla="*/ 30 w 3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4">
                    <a:moveTo>
                      <a:pt x="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1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5" y="2"/>
                      <a:pt x="14" y="1"/>
                      <a:pt x="14" y="0"/>
                    </a:cubicBezTo>
                    <a:moveTo>
                      <a:pt x="30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1"/>
                      <a:pt x="18" y="2"/>
                      <a:pt x="19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" name="Freeform 168"/>
              <p:cNvSpPr>
                <a:spLocks/>
              </p:cNvSpPr>
              <p:nvPr/>
            </p:nvSpPr>
            <p:spPr bwMode="auto">
              <a:xfrm>
                <a:off x="1360244" y="2619209"/>
                <a:ext cx="4525" cy="3771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2 w 5"/>
                  <a:gd name="T5" fmla="*/ 4 h 4"/>
                  <a:gd name="T6" fmla="*/ 5 w 5"/>
                  <a:gd name="T7" fmla="*/ 4 h 4"/>
                  <a:gd name="T8" fmla="*/ 3 w 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2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2"/>
                      <a:pt x="3" y="1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" name="Freeform 169"/>
              <p:cNvSpPr>
                <a:spLocks noEditPoints="1"/>
              </p:cNvSpPr>
              <p:nvPr/>
            </p:nvSpPr>
            <p:spPr bwMode="auto">
              <a:xfrm>
                <a:off x="949231" y="2603373"/>
                <a:ext cx="30166" cy="29412"/>
              </a:xfrm>
              <a:custGeom>
                <a:avLst/>
                <a:gdLst>
                  <a:gd name="T0" fmla="*/ 30 w 30"/>
                  <a:gd name="T1" fmla="*/ 20 h 30"/>
                  <a:gd name="T2" fmla="*/ 1 w 30"/>
                  <a:gd name="T3" fmla="*/ 20 h 30"/>
                  <a:gd name="T4" fmla="*/ 15 w 30"/>
                  <a:gd name="T5" fmla="*/ 30 h 30"/>
                  <a:gd name="T6" fmla="*/ 30 w 30"/>
                  <a:gd name="T7" fmla="*/ 20 h 30"/>
                  <a:gd name="T8" fmla="*/ 15 w 30"/>
                  <a:gd name="T9" fmla="*/ 0 h 30"/>
                  <a:gd name="T10" fmla="*/ 0 w 30"/>
                  <a:gd name="T11" fmla="*/ 15 h 30"/>
                  <a:gd name="T12" fmla="*/ 0 w 30"/>
                  <a:gd name="T13" fmla="*/ 16 h 30"/>
                  <a:gd name="T14" fmla="*/ 30 w 30"/>
                  <a:gd name="T15" fmla="*/ 16 h 30"/>
                  <a:gd name="T16" fmla="*/ 30 w 30"/>
                  <a:gd name="T17" fmla="*/ 15 h 30"/>
                  <a:gd name="T18" fmla="*/ 15 w 30"/>
                  <a:gd name="T1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0">
                    <a:moveTo>
                      <a:pt x="30" y="20"/>
                    </a:moveTo>
                    <a:cubicBezTo>
                      <a:pt x="1" y="20"/>
                      <a:pt x="1" y="20"/>
                      <a:pt x="1" y="20"/>
                    </a:cubicBezTo>
                    <a:cubicBezTo>
                      <a:pt x="3" y="26"/>
                      <a:pt x="8" y="30"/>
                      <a:pt x="15" y="30"/>
                    </a:cubicBezTo>
                    <a:cubicBezTo>
                      <a:pt x="22" y="30"/>
                      <a:pt x="28" y="26"/>
                      <a:pt x="30" y="20"/>
                    </a:cubicBezTo>
                    <a:moveTo>
                      <a:pt x="15" y="0"/>
                    </a:moveTo>
                    <a:cubicBezTo>
                      <a:pt x="7" y="0"/>
                      <a:pt x="0" y="7"/>
                      <a:pt x="0" y="15"/>
                    </a:cubicBezTo>
                    <a:cubicBezTo>
                      <a:pt x="0" y="15"/>
                      <a:pt x="0" y="16"/>
                      <a:pt x="0" y="16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0" y="15"/>
                      <a:pt x="30" y="15"/>
                    </a:cubicBezTo>
                    <a:cubicBezTo>
                      <a:pt x="30" y="7"/>
                      <a:pt x="24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" name="Freeform 170"/>
              <p:cNvSpPr>
                <a:spLocks/>
              </p:cNvSpPr>
              <p:nvPr/>
            </p:nvSpPr>
            <p:spPr bwMode="auto">
              <a:xfrm>
                <a:off x="949231" y="2619209"/>
                <a:ext cx="30166" cy="3771"/>
              </a:xfrm>
              <a:custGeom>
                <a:avLst/>
                <a:gdLst>
                  <a:gd name="T0" fmla="*/ 30 w 30"/>
                  <a:gd name="T1" fmla="*/ 0 h 4"/>
                  <a:gd name="T2" fmla="*/ 0 w 30"/>
                  <a:gd name="T3" fmla="*/ 0 h 4"/>
                  <a:gd name="T4" fmla="*/ 1 w 30"/>
                  <a:gd name="T5" fmla="*/ 4 h 4"/>
                  <a:gd name="T6" fmla="*/ 30 w 30"/>
                  <a:gd name="T7" fmla="*/ 4 h 4"/>
                  <a:gd name="T8" fmla="*/ 30 w 3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1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" name="Freeform 171"/>
              <p:cNvSpPr>
                <a:spLocks noEditPoints="1"/>
              </p:cNvSpPr>
              <p:nvPr/>
            </p:nvSpPr>
            <p:spPr bwMode="auto">
              <a:xfrm>
                <a:off x="204881" y="2734595"/>
                <a:ext cx="30920" cy="29412"/>
              </a:xfrm>
              <a:custGeom>
                <a:avLst/>
                <a:gdLst>
                  <a:gd name="T0" fmla="*/ 30 w 31"/>
                  <a:gd name="T1" fmla="*/ 13 h 30"/>
                  <a:gd name="T2" fmla="*/ 0 w 31"/>
                  <a:gd name="T3" fmla="*/ 13 h 30"/>
                  <a:gd name="T4" fmla="*/ 0 w 31"/>
                  <a:gd name="T5" fmla="*/ 15 h 30"/>
                  <a:gd name="T6" fmla="*/ 15 w 31"/>
                  <a:gd name="T7" fmla="*/ 30 h 30"/>
                  <a:gd name="T8" fmla="*/ 31 w 31"/>
                  <a:gd name="T9" fmla="*/ 15 h 30"/>
                  <a:gd name="T10" fmla="*/ 30 w 31"/>
                  <a:gd name="T11" fmla="*/ 13 h 30"/>
                  <a:gd name="T12" fmla="*/ 15 w 31"/>
                  <a:gd name="T13" fmla="*/ 0 h 30"/>
                  <a:gd name="T14" fmla="*/ 1 w 31"/>
                  <a:gd name="T15" fmla="*/ 10 h 30"/>
                  <a:gd name="T16" fmla="*/ 30 w 31"/>
                  <a:gd name="T17" fmla="*/ 10 h 30"/>
                  <a:gd name="T18" fmla="*/ 15 w 31"/>
                  <a:gd name="T1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30">
                    <a:moveTo>
                      <a:pt x="30" y="13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4"/>
                      <a:pt x="0" y="14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24" y="30"/>
                      <a:pt x="31" y="23"/>
                      <a:pt x="31" y="15"/>
                    </a:cubicBezTo>
                    <a:cubicBezTo>
                      <a:pt x="31" y="14"/>
                      <a:pt x="31" y="14"/>
                      <a:pt x="30" y="13"/>
                    </a:cubicBezTo>
                    <a:moveTo>
                      <a:pt x="15" y="0"/>
                    </a:moveTo>
                    <a:cubicBezTo>
                      <a:pt x="9" y="0"/>
                      <a:pt x="3" y="4"/>
                      <a:pt x="1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4"/>
                      <a:pt x="22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" name="Freeform 172"/>
              <p:cNvSpPr>
                <a:spLocks/>
              </p:cNvSpPr>
              <p:nvPr/>
            </p:nvSpPr>
            <p:spPr bwMode="auto">
              <a:xfrm>
                <a:off x="204881" y="2744399"/>
                <a:ext cx="29412" cy="3016"/>
              </a:xfrm>
              <a:custGeom>
                <a:avLst/>
                <a:gdLst>
                  <a:gd name="T0" fmla="*/ 30 w 30"/>
                  <a:gd name="T1" fmla="*/ 0 h 3"/>
                  <a:gd name="T2" fmla="*/ 1 w 30"/>
                  <a:gd name="T3" fmla="*/ 0 h 3"/>
                  <a:gd name="T4" fmla="*/ 0 w 30"/>
                  <a:gd name="T5" fmla="*/ 3 h 3"/>
                  <a:gd name="T6" fmla="*/ 30 w 30"/>
                  <a:gd name="T7" fmla="*/ 3 h 3"/>
                  <a:gd name="T8" fmla="*/ 30 w 30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">
                    <a:moveTo>
                      <a:pt x="3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" name="Freeform 173"/>
              <p:cNvSpPr>
                <a:spLocks noEditPoints="1"/>
              </p:cNvSpPr>
              <p:nvPr/>
            </p:nvSpPr>
            <p:spPr bwMode="auto">
              <a:xfrm>
                <a:off x="339875" y="2349223"/>
                <a:ext cx="29412" cy="30166"/>
              </a:xfrm>
              <a:custGeom>
                <a:avLst/>
                <a:gdLst>
                  <a:gd name="T0" fmla="*/ 15 w 30"/>
                  <a:gd name="T1" fmla="*/ 15 h 30"/>
                  <a:gd name="T2" fmla="*/ 0 w 30"/>
                  <a:gd name="T3" fmla="*/ 15 h 30"/>
                  <a:gd name="T4" fmla="*/ 15 w 30"/>
                  <a:gd name="T5" fmla="*/ 30 h 30"/>
                  <a:gd name="T6" fmla="*/ 15 w 30"/>
                  <a:gd name="T7" fmla="*/ 15 h 30"/>
                  <a:gd name="T8" fmla="*/ 30 w 30"/>
                  <a:gd name="T9" fmla="*/ 15 h 30"/>
                  <a:gd name="T10" fmla="*/ 19 w 30"/>
                  <a:gd name="T11" fmla="*/ 15 h 30"/>
                  <a:gd name="T12" fmla="*/ 19 w 30"/>
                  <a:gd name="T13" fmla="*/ 30 h 30"/>
                  <a:gd name="T14" fmla="*/ 30 w 30"/>
                  <a:gd name="T15" fmla="*/ 15 h 30"/>
                  <a:gd name="T16" fmla="*/ 19 w 30"/>
                  <a:gd name="T17" fmla="*/ 0 h 30"/>
                  <a:gd name="T18" fmla="*/ 19 w 30"/>
                  <a:gd name="T19" fmla="*/ 11 h 30"/>
                  <a:gd name="T20" fmla="*/ 30 w 30"/>
                  <a:gd name="T21" fmla="*/ 11 h 30"/>
                  <a:gd name="T22" fmla="*/ 19 w 30"/>
                  <a:gd name="T23" fmla="*/ 0 h 30"/>
                  <a:gd name="T24" fmla="*/ 15 w 30"/>
                  <a:gd name="T25" fmla="*/ 0 h 30"/>
                  <a:gd name="T26" fmla="*/ 1 w 30"/>
                  <a:gd name="T27" fmla="*/ 11 h 30"/>
                  <a:gd name="T28" fmla="*/ 15 w 30"/>
                  <a:gd name="T29" fmla="*/ 11 h 30"/>
                  <a:gd name="T30" fmla="*/ 15 w 30"/>
                  <a:gd name="T3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0">
                    <a:moveTo>
                      <a:pt x="15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15" y="15"/>
                      <a:pt x="15" y="15"/>
                      <a:pt x="15" y="15"/>
                    </a:cubicBezTo>
                    <a:moveTo>
                      <a:pt x="30" y="15"/>
                    </a:move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26" y="28"/>
                      <a:pt x="30" y="22"/>
                      <a:pt x="30" y="15"/>
                    </a:cubicBezTo>
                    <a:moveTo>
                      <a:pt x="19" y="0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6"/>
                      <a:pt x="24" y="2"/>
                      <a:pt x="19" y="0"/>
                    </a:cubicBezTo>
                    <a:moveTo>
                      <a:pt x="15" y="0"/>
                    </a:moveTo>
                    <a:cubicBezTo>
                      <a:pt x="8" y="0"/>
                      <a:pt x="2" y="5"/>
                      <a:pt x="1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" name="Freeform 174"/>
              <p:cNvSpPr>
                <a:spLocks noEditPoints="1"/>
              </p:cNvSpPr>
              <p:nvPr/>
            </p:nvSpPr>
            <p:spPr bwMode="auto">
              <a:xfrm>
                <a:off x="354958" y="2349223"/>
                <a:ext cx="3771" cy="30166"/>
              </a:xfrm>
              <a:custGeom>
                <a:avLst/>
                <a:gdLst>
                  <a:gd name="T0" fmla="*/ 4 w 4"/>
                  <a:gd name="T1" fmla="*/ 15 h 30"/>
                  <a:gd name="T2" fmla="*/ 0 w 4"/>
                  <a:gd name="T3" fmla="*/ 15 h 30"/>
                  <a:gd name="T4" fmla="*/ 0 w 4"/>
                  <a:gd name="T5" fmla="*/ 30 h 30"/>
                  <a:gd name="T6" fmla="*/ 0 w 4"/>
                  <a:gd name="T7" fmla="*/ 30 h 30"/>
                  <a:gd name="T8" fmla="*/ 4 w 4"/>
                  <a:gd name="T9" fmla="*/ 30 h 30"/>
                  <a:gd name="T10" fmla="*/ 4 w 4"/>
                  <a:gd name="T11" fmla="*/ 15 h 30"/>
                  <a:gd name="T12" fmla="*/ 0 w 4"/>
                  <a:gd name="T13" fmla="*/ 0 h 30"/>
                  <a:gd name="T14" fmla="*/ 0 w 4"/>
                  <a:gd name="T15" fmla="*/ 0 h 30"/>
                  <a:gd name="T16" fmla="*/ 0 w 4"/>
                  <a:gd name="T17" fmla="*/ 11 h 30"/>
                  <a:gd name="T18" fmla="*/ 4 w 4"/>
                  <a:gd name="T19" fmla="*/ 11 h 30"/>
                  <a:gd name="T20" fmla="*/ 4 w 4"/>
                  <a:gd name="T21" fmla="*/ 0 h 30"/>
                  <a:gd name="T22" fmla="*/ 0 w 4"/>
                  <a:gd name="T2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30">
                    <a:moveTo>
                      <a:pt x="4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" y="30"/>
                      <a:pt x="3" y="30"/>
                      <a:pt x="4" y="30"/>
                    </a:cubicBezTo>
                    <a:cubicBezTo>
                      <a:pt x="4" y="15"/>
                      <a:pt x="4" y="15"/>
                      <a:pt x="4" y="15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" name="Freeform 175"/>
              <p:cNvSpPr>
                <a:spLocks/>
              </p:cNvSpPr>
              <p:nvPr/>
            </p:nvSpPr>
            <p:spPr bwMode="auto">
              <a:xfrm>
                <a:off x="339875" y="2360536"/>
                <a:ext cx="29412" cy="3771"/>
              </a:xfrm>
              <a:custGeom>
                <a:avLst/>
                <a:gdLst>
                  <a:gd name="T0" fmla="*/ 30 w 30"/>
                  <a:gd name="T1" fmla="*/ 0 h 4"/>
                  <a:gd name="T2" fmla="*/ 19 w 30"/>
                  <a:gd name="T3" fmla="*/ 0 h 4"/>
                  <a:gd name="T4" fmla="*/ 15 w 30"/>
                  <a:gd name="T5" fmla="*/ 0 h 4"/>
                  <a:gd name="T6" fmla="*/ 1 w 30"/>
                  <a:gd name="T7" fmla="*/ 0 h 4"/>
                  <a:gd name="T8" fmla="*/ 0 w 30"/>
                  <a:gd name="T9" fmla="*/ 4 h 4"/>
                  <a:gd name="T10" fmla="*/ 0 w 30"/>
                  <a:gd name="T11" fmla="*/ 4 h 4"/>
                  <a:gd name="T12" fmla="*/ 15 w 30"/>
                  <a:gd name="T13" fmla="*/ 4 h 4"/>
                  <a:gd name="T14" fmla="*/ 19 w 30"/>
                  <a:gd name="T15" fmla="*/ 4 h 4"/>
                  <a:gd name="T16" fmla="*/ 30 w 30"/>
                  <a:gd name="T17" fmla="*/ 4 h 4"/>
                  <a:gd name="T18" fmla="*/ 30 w 30"/>
                  <a:gd name="T19" fmla="*/ 4 h 4"/>
                  <a:gd name="T20" fmla="*/ 30 w 30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3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" name="Freeform 185"/>
              <p:cNvSpPr>
                <a:spLocks noEditPoints="1"/>
              </p:cNvSpPr>
              <p:nvPr/>
            </p:nvSpPr>
            <p:spPr bwMode="auto">
              <a:xfrm>
                <a:off x="569138" y="2198392"/>
                <a:ext cx="29412" cy="29412"/>
              </a:xfrm>
              <a:custGeom>
                <a:avLst/>
                <a:gdLst>
                  <a:gd name="T0" fmla="*/ 19 w 30"/>
                  <a:gd name="T1" fmla="*/ 0 h 30"/>
                  <a:gd name="T2" fmla="*/ 19 w 30"/>
                  <a:gd name="T3" fmla="*/ 29 h 30"/>
                  <a:gd name="T4" fmla="*/ 30 w 30"/>
                  <a:gd name="T5" fmla="*/ 15 h 30"/>
                  <a:gd name="T6" fmla="*/ 19 w 30"/>
                  <a:gd name="T7" fmla="*/ 0 h 30"/>
                  <a:gd name="T8" fmla="*/ 15 w 30"/>
                  <a:gd name="T9" fmla="*/ 0 h 30"/>
                  <a:gd name="T10" fmla="*/ 0 w 30"/>
                  <a:gd name="T11" fmla="*/ 15 h 30"/>
                  <a:gd name="T12" fmla="*/ 15 w 30"/>
                  <a:gd name="T13" fmla="*/ 30 h 30"/>
                  <a:gd name="T14" fmla="*/ 16 w 30"/>
                  <a:gd name="T15" fmla="*/ 30 h 30"/>
                  <a:gd name="T16" fmla="*/ 16 w 30"/>
                  <a:gd name="T17" fmla="*/ 0 h 30"/>
                  <a:gd name="T18" fmla="*/ 15 w 30"/>
                  <a:gd name="T1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0">
                    <a:moveTo>
                      <a:pt x="19" y="0"/>
                    </a:moveTo>
                    <a:cubicBezTo>
                      <a:pt x="19" y="29"/>
                      <a:pt x="19" y="29"/>
                      <a:pt x="19" y="29"/>
                    </a:cubicBezTo>
                    <a:cubicBezTo>
                      <a:pt x="26" y="27"/>
                      <a:pt x="30" y="22"/>
                      <a:pt x="30" y="15"/>
                    </a:cubicBezTo>
                    <a:cubicBezTo>
                      <a:pt x="30" y="8"/>
                      <a:pt x="26" y="2"/>
                      <a:pt x="19" y="0"/>
                    </a:cubicBezTo>
                    <a:moveTo>
                      <a:pt x="15" y="0"/>
                    </a:moveTo>
                    <a:cubicBezTo>
                      <a:pt x="6" y="0"/>
                      <a:pt x="0" y="6"/>
                      <a:pt x="0" y="15"/>
                    </a:cubicBezTo>
                    <a:cubicBezTo>
                      <a:pt x="0" y="23"/>
                      <a:pt x="6" y="30"/>
                      <a:pt x="15" y="30"/>
                    </a:cubicBezTo>
                    <a:cubicBezTo>
                      <a:pt x="15" y="30"/>
                      <a:pt x="15" y="30"/>
                      <a:pt x="16" y="3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" name="Freeform 186"/>
              <p:cNvSpPr>
                <a:spLocks/>
              </p:cNvSpPr>
              <p:nvPr/>
            </p:nvSpPr>
            <p:spPr bwMode="auto">
              <a:xfrm>
                <a:off x="584974" y="2198392"/>
                <a:ext cx="2263" cy="29412"/>
              </a:xfrm>
              <a:custGeom>
                <a:avLst/>
                <a:gdLst>
                  <a:gd name="T0" fmla="*/ 0 w 3"/>
                  <a:gd name="T1" fmla="*/ 0 h 30"/>
                  <a:gd name="T2" fmla="*/ 0 w 3"/>
                  <a:gd name="T3" fmla="*/ 30 h 30"/>
                  <a:gd name="T4" fmla="*/ 3 w 3"/>
                  <a:gd name="T5" fmla="*/ 29 h 30"/>
                  <a:gd name="T6" fmla="*/ 3 w 3"/>
                  <a:gd name="T7" fmla="*/ 0 h 30"/>
                  <a:gd name="T8" fmla="*/ 0 w 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0">
                    <a:moveTo>
                      <a:pt x="0" y="0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1" y="30"/>
                      <a:pt x="2" y="30"/>
                      <a:pt x="3" y="29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" name="Freeform 187"/>
              <p:cNvSpPr>
                <a:spLocks noEditPoints="1"/>
              </p:cNvSpPr>
              <p:nvPr/>
            </p:nvSpPr>
            <p:spPr bwMode="auto">
              <a:xfrm>
                <a:off x="931131" y="2934445"/>
                <a:ext cx="29412" cy="30166"/>
              </a:xfrm>
              <a:custGeom>
                <a:avLst/>
                <a:gdLst>
                  <a:gd name="T0" fmla="*/ 30 w 30"/>
                  <a:gd name="T1" fmla="*/ 15 h 30"/>
                  <a:gd name="T2" fmla="*/ 0 w 30"/>
                  <a:gd name="T3" fmla="*/ 15 h 30"/>
                  <a:gd name="T4" fmla="*/ 15 w 30"/>
                  <a:gd name="T5" fmla="*/ 30 h 30"/>
                  <a:gd name="T6" fmla="*/ 30 w 30"/>
                  <a:gd name="T7" fmla="*/ 15 h 30"/>
                  <a:gd name="T8" fmla="*/ 15 w 30"/>
                  <a:gd name="T9" fmla="*/ 0 h 30"/>
                  <a:gd name="T10" fmla="*/ 1 w 30"/>
                  <a:gd name="T11" fmla="*/ 11 h 30"/>
                  <a:gd name="T12" fmla="*/ 30 w 30"/>
                  <a:gd name="T13" fmla="*/ 11 h 30"/>
                  <a:gd name="T14" fmla="*/ 15 w 30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24" y="30"/>
                      <a:pt x="30" y="23"/>
                      <a:pt x="30" y="15"/>
                    </a:cubicBezTo>
                    <a:moveTo>
                      <a:pt x="15" y="0"/>
                    </a:moveTo>
                    <a:cubicBezTo>
                      <a:pt x="8" y="0"/>
                      <a:pt x="2" y="4"/>
                      <a:pt x="1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8" y="4"/>
                      <a:pt x="22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" name="Freeform 188"/>
              <p:cNvSpPr>
                <a:spLocks/>
              </p:cNvSpPr>
              <p:nvPr/>
            </p:nvSpPr>
            <p:spPr bwMode="auto">
              <a:xfrm>
                <a:off x="931131" y="2945757"/>
                <a:ext cx="29412" cy="3771"/>
              </a:xfrm>
              <a:custGeom>
                <a:avLst/>
                <a:gdLst>
                  <a:gd name="T0" fmla="*/ 30 w 30"/>
                  <a:gd name="T1" fmla="*/ 0 h 4"/>
                  <a:gd name="T2" fmla="*/ 1 w 30"/>
                  <a:gd name="T3" fmla="*/ 0 h 4"/>
                  <a:gd name="T4" fmla="*/ 0 w 30"/>
                  <a:gd name="T5" fmla="*/ 4 h 4"/>
                  <a:gd name="T6" fmla="*/ 0 w 30"/>
                  <a:gd name="T7" fmla="*/ 4 h 4"/>
                  <a:gd name="T8" fmla="*/ 30 w 30"/>
                  <a:gd name="T9" fmla="*/ 4 h 4"/>
                  <a:gd name="T10" fmla="*/ 30 w 30"/>
                  <a:gd name="T11" fmla="*/ 4 h 4"/>
                  <a:gd name="T12" fmla="*/ 30 w 3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" name="Freeform 189"/>
              <p:cNvSpPr>
                <a:spLocks noEditPoints="1"/>
              </p:cNvSpPr>
              <p:nvPr/>
            </p:nvSpPr>
            <p:spPr bwMode="auto">
              <a:xfrm>
                <a:off x="1009563" y="2934445"/>
                <a:ext cx="30920" cy="30166"/>
              </a:xfrm>
              <a:custGeom>
                <a:avLst/>
                <a:gdLst>
                  <a:gd name="T0" fmla="*/ 31 w 31"/>
                  <a:gd name="T1" fmla="*/ 15 h 30"/>
                  <a:gd name="T2" fmla="*/ 0 w 31"/>
                  <a:gd name="T3" fmla="*/ 15 h 30"/>
                  <a:gd name="T4" fmla="*/ 16 w 31"/>
                  <a:gd name="T5" fmla="*/ 30 h 30"/>
                  <a:gd name="T6" fmla="*/ 31 w 31"/>
                  <a:gd name="T7" fmla="*/ 15 h 30"/>
                  <a:gd name="T8" fmla="*/ 16 w 31"/>
                  <a:gd name="T9" fmla="*/ 0 h 30"/>
                  <a:gd name="T10" fmla="*/ 1 w 31"/>
                  <a:gd name="T11" fmla="*/ 11 h 30"/>
                  <a:gd name="T12" fmla="*/ 30 w 31"/>
                  <a:gd name="T13" fmla="*/ 11 h 30"/>
                  <a:gd name="T14" fmla="*/ 16 w 31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6" y="30"/>
                    </a:cubicBezTo>
                    <a:cubicBezTo>
                      <a:pt x="24" y="30"/>
                      <a:pt x="31" y="23"/>
                      <a:pt x="31" y="15"/>
                    </a:cubicBezTo>
                    <a:moveTo>
                      <a:pt x="16" y="0"/>
                    </a:moveTo>
                    <a:cubicBezTo>
                      <a:pt x="9" y="0"/>
                      <a:pt x="3" y="4"/>
                      <a:pt x="1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4"/>
                      <a:pt x="23" y="0"/>
                      <a:pt x="16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" name="Freeform 190"/>
              <p:cNvSpPr>
                <a:spLocks/>
              </p:cNvSpPr>
              <p:nvPr/>
            </p:nvSpPr>
            <p:spPr bwMode="auto">
              <a:xfrm>
                <a:off x="1009563" y="2945757"/>
                <a:ext cx="30920" cy="3771"/>
              </a:xfrm>
              <a:custGeom>
                <a:avLst/>
                <a:gdLst>
                  <a:gd name="T0" fmla="*/ 30 w 31"/>
                  <a:gd name="T1" fmla="*/ 0 h 4"/>
                  <a:gd name="T2" fmla="*/ 1 w 31"/>
                  <a:gd name="T3" fmla="*/ 0 h 4"/>
                  <a:gd name="T4" fmla="*/ 0 w 31"/>
                  <a:gd name="T5" fmla="*/ 4 h 4"/>
                  <a:gd name="T6" fmla="*/ 0 w 31"/>
                  <a:gd name="T7" fmla="*/ 4 h 4"/>
                  <a:gd name="T8" fmla="*/ 31 w 31"/>
                  <a:gd name="T9" fmla="*/ 4 h 4"/>
                  <a:gd name="T10" fmla="*/ 31 w 31"/>
                  <a:gd name="T11" fmla="*/ 4 h 4"/>
                  <a:gd name="T12" fmla="*/ 30 w 31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4">
                    <a:moveTo>
                      <a:pt x="3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1" y="2"/>
                      <a:pt x="31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" name="Freeform 191"/>
              <p:cNvSpPr>
                <a:spLocks noEditPoints="1"/>
              </p:cNvSpPr>
              <p:nvPr/>
            </p:nvSpPr>
            <p:spPr bwMode="auto">
              <a:xfrm>
                <a:off x="854207" y="2934445"/>
                <a:ext cx="29412" cy="30166"/>
              </a:xfrm>
              <a:custGeom>
                <a:avLst/>
                <a:gdLst>
                  <a:gd name="T0" fmla="*/ 30 w 30"/>
                  <a:gd name="T1" fmla="*/ 15 h 30"/>
                  <a:gd name="T2" fmla="*/ 0 w 30"/>
                  <a:gd name="T3" fmla="*/ 15 h 30"/>
                  <a:gd name="T4" fmla="*/ 15 w 30"/>
                  <a:gd name="T5" fmla="*/ 30 h 30"/>
                  <a:gd name="T6" fmla="*/ 30 w 30"/>
                  <a:gd name="T7" fmla="*/ 15 h 30"/>
                  <a:gd name="T8" fmla="*/ 15 w 30"/>
                  <a:gd name="T9" fmla="*/ 0 h 30"/>
                  <a:gd name="T10" fmla="*/ 0 w 30"/>
                  <a:gd name="T11" fmla="*/ 11 h 30"/>
                  <a:gd name="T12" fmla="*/ 30 w 30"/>
                  <a:gd name="T13" fmla="*/ 11 h 30"/>
                  <a:gd name="T14" fmla="*/ 15 w 30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23" y="30"/>
                      <a:pt x="30" y="23"/>
                      <a:pt x="30" y="15"/>
                    </a:cubicBezTo>
                    <a:moveTo>
                      <a:pt x="15" y="0"/>
                    </a:moveTo>
                    <a:cubicBezTo>
                      <a:pt x="8" y="0"/>
                      <a:pt x="2" y="4"/>
                      <a:pt x="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8" y="4"/>
                      <a:pt x="22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" name="Freeform 192"/>
              <p:cNvSpPr>
                <a:spLocks/>
              </p:cNvSpPr>
              <p:nvPr/>
            </p:nvSpPr>
            <p:spPr bwMode="auto">
              <a:xfrm>
                <a:off x="854207" y="2945757"/>
                <a:ext cx="29412" cy="3771"/>
              </a:xfrm>
              <a:custGeom>
                <a:avLst/>
                <a:gdLst>
                  <a:gd name="T0" fmla="*/ 30 w 30"/>
                  <a:gd name="T1" fmla="*/ 0 h 4"/>
                  <a:gd name="T2" fmla="*/ 0 w 30"/>
                  <a:gd name="T3" fmla="*/ 0 h 4"/>
                  <a:gd name="T4" fmla="*/ 0 w 30"/>
                  <a:gd name="T5" fmla="*/ 4 h 4"/>
                  <a:gd name="T6" fmla="*/ 0 w 30"/>
                  <a:gd name="T7" fmla="*/ 4 h 4"/>
                  <a:gd name="T8" fmla="*/ 30 w 30"/>
                  <a:gd name="T9" fmla="*/ 4 h 4"/>
                  <a:gd name="T10" fmla="*/ 30 w 30"/>
                  <a:gd name="T11" fmla="*/ 4 h 4"/>
                  <a:gd name="T12" fmla="*/ 30 w 3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" name="Straight Connector 10"/>
            <p:cNvCxnSpPr>
              <a:cxnSpLocks/>
              <a:stCxn id="17" idx="6"/>
            </p:cNvCxnSpPr>
            <p:nvPr/>
          </p:nvCxnSpPr>
          <p:spPr bwMode="auto">
            <a:xfrm>
              <a:off x="1579047" y="2123353"/>
              <a:ext cx="7917378" cy="1"/>
            </a:xfrm>
            <a:prstGeom prst="line">
              <a:avLst/>
            </a:prstGeom>
            <a:solidFill>
              <a:schemeClr val="accent3">
                <a:alpha val="70000"/>
              </a:schemeClr>
            </a:solidFill>
            <a:ln w="0">
              <a:solidFill>
                <a:schemeClr val="accent3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267532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  <p:pic>
        <p:nvPicPr>
          <p:cNvPr id="6" name="lord">
            <a:extLst>
              <a:ext uri="{FF2B5EF4-FFF2-40B4-BE49-F238E27FC236}">
                <a16:creationId xmlns:a16="http://schemas.microsoft.com/office/drawing/2014/main" id="{509BBCC5-BA15-4C7E-9A9E-31E7E2A1F83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1067" y="127000"/>
            <a:ext cx="1235563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4692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lord">
            <a:extLst>
              <a:ext uri="{FF2B5EF4-FFF2-40B4-BE49-F238E27FC236}">
                <a16:creationId xmlns:a16="http://schemas.microsoft.com/office/drawing/2014/main" id="{1BB5B7BE-E381-4009-8FC8-49576BF815F6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237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66569B-692A-4CE7-9D12-96AAE5ACC2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66569B-692A-4CE7-9D12-96AAE5ACC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95B65B43-9C06-4D92-8F96-ECB0BFFA969F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6665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32744-B3F6-41E0-A0C3-E689ECE728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32744-B3F6-41E0-A0C3-E689ECE72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BC771BDC-D69A-46E1-8E29-2183ECB1EFF4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7439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376650F9-7DF2-482F-B790-78B62135D291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15894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isbane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Kuala Lumpur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New Delh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hangh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Tokyo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uchares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ohannesbur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lord">
            <a:extLst>
              <a:ext uri="{FF2B5EF4-FFF2-40B4-BE49-F238E27FC236}">
                <a16:creationId xmlns:a16="http://schemas.microsoft.com/office/drawing/2014/main" id="{CE38181E-EBF2-47FD-96E9-1AF498B13C65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006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Quote Slide">
    <p:bg>
      <p:bgPr>
        <a:gradFill flip="none" rotWithShape="1">
          <a:gsLst>
            <a:gs pos="0">
              <a:schemeClr val="accent1"/>
            </a:gs>
            <a:gs pos="10000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4FEFBD-DCC2-4275-B80C-667DA9EC9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4961" y="1143000"/>
            <a:ext cx="9022080" cy="3163892"/>
          </a:xfrm>
        </p:spPr>
        <p:txBody>
          <a:bodyPr anchor="b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47076A-408F-4112-B7BB-05EAEC61A4D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584959" y="4737102"/>
            <a:ext cx="6289039" cy="330196"/>
          </a:xfrm>
        </p:spPr>
        <p:txBody>
          <a:bodyPr anchor="t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1"/>
            <a:r>
              <a:rPr lang="en-US"/>
              <a:t>Second level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22BD154-4ED6-49BE-8144-5028C3310C16}"/>
              </a:ext>
            </a:extLst>
          </p:cNvPr>
          <p:cNvGrpSpPr/>
          <p:nvPr/>
        </p:nvGrpSpPr>
        <p:grpSpPr>
          <a:xfrm>
            <a:off x="646882" y="1437285"/>
            <a:ext cx="665169" cy="535375"/>
            <a:chOff x="3814503" y="701634"/>
            <a:chExt cx="655119" cy="527284"/>
          </a:xfrm>
          <a:solidFill>
            <a:schemeClr val="accent2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192AA70-4447-44BB-BFAB-C38103100E33}"/>
                </a:ext>
              </a:extLst>
            </p:cNvPr>
            <p:cNvSpPr/>
            <p:nvPr userDrawn="1"/>
          </p:nvSpPr>
          <p:spPr>
            <a:xfrm>
              <a:off x="3814503" y="701634"/>
              <a:ext cx="327883" cy="527284"/>
            </a:xfrm>
            <a:custGeom>
              <a:avLst/>
              <a:gdLst/>
              <a:ahLst/>
              <a:cxnLst/>
              <a:rect l="l" t="t" r="r" b="b"/>
              <a:pathLst>
                <a:path w="327883" h="527284">
                  <a:moveTo>
                    <a:pt x="278546" y="0"/>
                  </a:moveTo>
                  <a:cubicBezTo>
                    <a:pt x="289510" y="0"/>
                    <a:pt x="298589" y="514"/>
                    <a:pt x="305784" y="1542"/>
                  </a:cubicBezTo>
                  <a:cubicBezTo>
                    <a:pt x="312979" y="2570"/>
                    <a:pt x="318461" y="4283"/>
                    <a:pt x="322230" y="6681"/>
                  </a:cubicBezTo>
                  <a:cubicBezTo>
                    <a:pt x="325998" y="9079"/>
                    <a:pt x="327883" y="12334"/>
                    <a:pt x="327883" y="16446"/>
                  </a:cubicBezTo>
                  <a:cubicBezTo>
                    <a:pt x="327883" y="20557"/>
                    <a:pt x="326512" y="25353"/>
                    <a:pt x="323771" y="30835"/>
                  </a:cubicBezTo>
                  <a:lnTo>
                    <a:pt x="189124" y="313493"/>
                  </a:lnTo>
                  <a:lnTo>
                    <a:pt x="189124" y="443001"/>
                  </a:lnTo>
                  <a:cubicBezTo>
                    <a:pt x="189124" y="460817"/>
                    <a:pt x="187239" y="475207"/>
                    <a:pt x="183471" y="486170"/>
                  </a:cubicBezTo>
                  <a:cubicBezTo>
                    <a:pt x="179702" y="497134"/>
                    <a:pt x="173877" y="505700"/>
                    <a:pt x="165997" y="511867"/>
                  </a:cubicBezTo>
                  <a:cubicBezTo>
                    <a:pt x="158117" y="518034"/>
                    <a:pt x="148181" y="522145"/>
                    <a:pt x="136190" y="524201"/>
                  </a:cubicBezTo>
                  <a:cubicBezTo>
                    <a:pt x="124198" y="526256"/>
                    <a:pt x="109980" y="527284"/>
                    <a:pt x="93534" y="527284"/>
                  </a:cubicBezTo>
                  <a:cubicBezTo>
                    <a:pt x="77089" y="527284"/>
                    <a:pt x="63042" y="526256"/>
                    <a:pt x="51393" y="524201"/>
                  </a:cubicBezTo>
                  <a:cubicBezTo>
                    <a:pt x="39744" y="522145"/>
                    <a:pt x="30151" y="518034"/>
                    <a:pt x="22613" y="511867"/>
                  </a:cubicBezTo>
                  <a:cubicBezTo>
                    <a:pt x="15076" y="505700"/>
                    <a:pt x="9422" y="497134"/>
                    <a:pt x="5654" y="486170"/>
                  </a:cubicBezTo>
                  <a:cubicBezTo>
                    <a:pt x="1885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4" y="385956"/>
                  </a:cubicBezTo>
                  <a:cubicBezTo>
                    <a:pt x="5140" y="368482"/>
                    <a:pt x="8395" y="351866"/>
                    <a:pt x="12849" y="336105"/>
                  </a:cubicBezTo>
                  <a:cubicBezTo>
                    <a:pt x="17303" y="320345"/>
                    <a:pt x="23470" y="304756"/>
                    <a:pt x="31350" y="289338"/>
                  </a:cubicBezTo>
                  <a:cubicBezTo>
                    <a:pt x="39230" y="273921"/>
                    <a:pt x="48652" y="257646"/>
                    <a:pt x="59615" y="240516"/>
                  </a:cubicBezTo>
                  <a:lnTo>
                    <a:pt x="198374" y="29808"/>
                  </a:lnTo>
                  <a:cubicBezTo>
                    <a:pt x="201801" y="24326"/>
                    <a:pt x="205569" y="19872"/>
                    <a:pt x="209681" y="16446"/>
                  </a:cubicBezTo>
                  <a:cubicBezTo>
                    <a:pt x="213792" y="13019"/>
                    <a:pt x="218931" y="10107"/>
                    <a:pt x="225098" y="7709"/>
                  </a:cubicBezTo>
                  <a:cubicBezTo>
                    <a:pt x="231265" y="5311"/>
                    <a:pt x="238632" y="3426"/>
                    <a:pt x="247197" y="2056"/>
                  </a:cubicBezTo>
                  <a:cubicBezTo>
                    <a:pt x="255762" y="685"/>
                    <a:pt x="266212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23A1BEE-771C-45BD-89DA-51547CA07F02}"/>
                </a:ext>
              </a:extLst>
            </p:cNvPr>
            <p:cNvSpPr/>
            <p:nvPr userDrawn="1"/>
          </p:nvSpPr>
          <p:spPr>
            <a:xfrm>
              <a:off x="4141180" y="701634"/>
              <a:ext cx="328442" cy="527284"/>
            </a:xfrm>
            <a:custGeom>
              <a:avLst/>
              <a:gdLst/>
              <a:ahLst/>
              <a:cxnLst/>
              <a:rect l="l" t="t" r="r" b="b"/>
              <a:pathLst>
                <a:path w="328442" h="527284">
                  <a:moveTo>
                    <a:pt x="278546" y="0"/>
                  </a:moveTo>
                  <a:cubicBezTo>
                    <a:pt x="289509" y="0"/>
                    <a:pt x="298760" y="514"/>
                    <a:pt x="306297" y="1542"/>
                  </a:cubicBezTo>
                  <a:cubicBezTo>
                    <a:pt x="313835" y="2570"/>
                    <a:pt x="319317" y="4283"/>
                    <a:pt x="322743" y="6681"/>
                  </a:cubicBezTo>
                  <a:cubicBezTo>
                    <a:pt x="326169" y="9079"/>
                    <a:pt x="328053" y="12334"/>
                    <a:pt x="328396" y="16446"/>
                  </a:cubicBezTo>
                  <a:cubicBezTo>
                    <a:pt x="328739" y="20557"/>
                    <a:pt x="327197" y="25353"/>
                    <a:pt x="323771" y="30835"/>
                  </a:cubicBezTo>
                  <a:lnTo>
                    <a:pt x="189123" y="313493"/>
                  </a:lnTo>
                  <a:lnTo>
                    <a:pt x="189123" y="443001"/>
                  </a:lnTo>
                  <a:cubicBezTo>
                    <a:pt x="189123" y="460817"/>
                    <a:pt x="187239" y="475207"/>
                    <a:pt x="183470" y="486170"/>
                  </a:cubicBezTo>
                  <a:cubicBezTo>
                    <a:pt x="179701" y="497134"/>
                    <a:pt x="173877" y="505700"/>
                    <a:pt x="165997" y="511867"/>
                  </a:cubicBezTo>
                  <a:cubicBezTo>
                    <a:pt x="158116" y="518034"/>
                    <a:pt x="148181" y="522145"/>
                    <a:pt x="136189" y="524201"/>
                  </a:cubicBezTo>
                  <a:cubicBezTo>
                    <a:pt x="124198" y="526256"/>
                    <a:pt x="109979" y="527284"/>
                    <a:pt x="93534" y="527284"/>
                  </a:cubicBezTo>
                  <a:cubicBezTo>
                    <a:pt x="77088" y="527284"/>
                    <a:pt x="63041" y="526256"/>
                    <a:pt x="51392" y="524201"/>
                  </a:cubicBezTo>
                  <a:cubicBezTo>
                    <a:pt x="39743" y="522145"/>
                    <a:pt x="30150" y="518034"/>
                    <a:pt x="22612" y="511867"/>
                  </a:cubicBezTo>
                  <a:cubicBezTo>
                    <a:pt x="15075" y="505700"/>
                    <a:pt x="9422" y="497134"/>
                    <a:pt x="5653" y="486170"/>
                  </a:cubicBezTo>
                  <a:cubicBezTo>
                    <a:pt x="1884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3" y="385956"/>
                  </a:cubicBezTo>
                  <a:cubicBezTo>
                    <a:pt x="5139" y="368482"/>
                    <a:pt x="8394" y="351866"/>
                    <a:pt x="12848" y="336105"/>
                  </a:cubicBezTo>
                  <a:cubicBezTo>
                    <a:pt x="17302" y="320345"/>
                    <a:pt x="23469" y="304756"/>
                    <a:pt x="31349" y="289338"/>
                  </a:cubicBezTo>
                  <a:cubicBezTo>
                    <a:pt x="39229" y="273921"/>
                    <a:pt x="48651" y="257646"/>
                    <a:pt x="59615" y="240516"/>
                  </a:cubicBezTo>
                  <a:lnTo>
                    <a:pt x="198374" y="29808"/>
                  </a:lnTo>
                  <a:cubicBezTo>
                    <a:pt x="201800" y="24326"/>
                    <a:pt x="205569" y="19872"/>
                    <a:pt x="209680" y="16446"/>
                  </a:cubicBezTo>
                  <a:cubicBezTo>
                    <a:pt x="213791" y="13019"/>
                    <a:pt x="218931" y="10107"/>
                    <a:pt x="225098" y="7709"/>
                  </a:cubicBezTo>
                  <a:cubicBezTo>
                    <a:pt x="231265" y="5311"/>
                    <a:pt x="238631" y="3426"/>
                    <a:pt x="247196" y="2056"/>
                  </a:cubicBezTo>
                  <a:cubicBezTo>
                    <a:pt x="255762" y="685"/>
                    <a:pt x="266211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sp>
        <p:nvSpPr>
          <p:cNvPr id="11" name="Freeform 5">
            <a:extLst>
              <a:ext uri="{FF2B5EF4-FFF2-40B4-BE49-F238E27FC236}">
                <a16:creationId xmlns:a16="http://schemas.microsoft.com/office/drawing/2014/main" id="{98B091F3-7EC7-4951-ACCE-9838A22C5D6D}"/>
              </a:ext>
            </a:extLst>
          </p:cNvPr>
          <p:cNvSpPr>
            <a:spLocks noEditPoints="1"/>
          </p:cNvSpPr>
          <p:nvPr/>
        </p:nvSpPr>
        <p:spPr bwMode="black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B284A7-01E8-4058-932A-15271654A1B7}"/>
              </a:ext>
            </a:extLst>
          </p:cNvPr>
          <p:cNvSpPr/>
          <p:nvPr/>
        </p:nvSpPr>
        <p:spPr bwMode="black"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accent4">
                    <a:lumMod val="40000"/>
                    <a:lumOff val="60000"/>
                  </a:schemeClr>
                </a:solidFill>
              </a:rPr>
              <a:t>©2018 Visa. All rights reserved. Visa confidential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2DBD0450-BDDE-4377-9123-A0FB98AB9D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/>
        </p:nvSpPr>
        <p:spPr>
          <a:xfrm>
            <a:off x="45503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1229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DC97DBF4-E0D1-43DF-8C27-9FABD4D598D3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05127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2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75" indent="0">
              <a:buNone/>
              <a:defRPr sz="1000"/>
            </a:lvl2pPr>
            <a:lvl3pPr marL="323231" indent="0">
              <a:buNone/>
              <a:defRPr sz="1000"/>
            </a:lvl3pPr>
            <a:lvl4pPr marL="510827" indent="0">
              <a:buNone/>
              <a:defRPr sz="1000"/>
            </a:lvl4pPr>
            <a:lvl5pPr marL="655184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2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996" indent="-179996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0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3"/>
            <a:ext cx="11523133" cy="4985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723900"/>
          </a:xfrm>
          <a:prstGeom prst="rect">
            <a:avLst/>
          </a:prstGeom>
        </p:spPr>
      </p:pic>
      <p:pic>
        <p:nvPicPr>
          <p:cNvPr id="6" name="lord">
            <a:extLst>
              <a:ext uri="{FF2B5EF4-FFF2-40B4-BE49-F238E27FC236}">
                <a16:creationId xmlns:a16="http://schemas.microsoft.com/office/drawing/2014/main" id="{509BBCC5-BA15-4C7E-9A9E-31E7E2A1F83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1067" y="127001"/>
            <a:ext cx="1235563" cy="432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8542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7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lord">
            <a:extLst>
              <a:ext uri="{FF2B5EF4-FFF2-40B4-BE49-F238E27FC236}">
                <a16:creationId xmlns:a16="http://schemas.microsoft.com/office/drawing/2014/main" id="{1BB5B7BE-E381-4009-8FC8-49576BF815F6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569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66569B-692A-4CE7-9D12-96AAE5ACC2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6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66569B-692A-4CE7-9D12-96AAE5ACC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6447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95B65B43-9C06-4D92-8F96-ECB0BFFA969F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8415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32744-B3F6-41E0-A0C3-E689ECE728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32744-B3F6-41E0-A0C3-E689ECE72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BC771BDC-D69A-46E1-8E29-2183ECB1EFF4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20268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2" y="2157986"/>
            <a:ext cx="11528468" cy="276999"/>
          </a:xfrm>
          <a:ln>
            <a:noFill/>
          </a:ln>
        </p:spPr>
        <p:txBody>
          <a:bodyPr/>
          <a:lstStyle>
            <a:lvl1pPr marL="164588" indent="-164588">
              <a:buFont typeface="Arial" pitchFamily="34" charset="0"/>
              <a:buChar char="•"/>
              <a:defRPr sz="2000" baseline="0"/>
            </a:lvl1pPr>
            <a:lvl2pPr marL="347463" indent="-182875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20" indent="-137157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2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376650F9-7DF2-482F-B790-78B62135D291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80627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631437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326400" y="2895600"/>
          <a:ext cx="11520808" cy="26249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1653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28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isbane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Kuala Lumpur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New Delh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hangh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Tokyo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9067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uchares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65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ohannesbur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lord">
            <a:extLst>
              <a:ext uri="{FF2B5EF4-FFF2-40B4-BE49-F238E27FC236}">
                <a16:creationId xmlns:a16="http://schemas.microsoft.com/office/drawing/2014/main" id="{CE38181E-EBF2-47FD-96E9-1AF498B13C65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876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lord">
            <a:extLst>
              <a:ext uri="{FF2B5EF4-FFF2-40B4-BE49-F238E27FC236}">
                <a16:creationId xmlns:a16="http://schemas.microsoft.com/office/drawing/2014/main" id="{DC97DBF4-E0D1-43DF-8C27-9FABD4D598D3}"/>
              </a:ext>
            </a:extLst>
          </p:cNvPr>
          <p:cNvSpPr/>
          <p:nvPr userDrawn="1"/>
        </p:nvSpPr>
        <p:spPr>
          <a:xfrm>
            <a:off x="5571067" y="127000"/>
            <a:ext cx="1016000" cy="203200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 rtl="0" eaLnBrk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600" b="1" i="0" u="none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AFT</a:t>
            </a:r>
            <a:endParaRPr lang="en-US" sz="1600" b="1" i="0" u="none" baseline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5517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7504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304800" y="4255825"/>
            <a:ext cx="57912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04800" y="4845733"/>
            <a:ext cx="579120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9049456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9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0546080" cy="5581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378985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old Quote Slide">
    <p:bg>
      <p:bgPr>
        <a:gradFill>
          <a:gsLst>
            <a:gs pos="0">
              <a:srgbClr val="FA9B00"/>
            </a:gs>
            <a:gs pos="100000">
              <a:srgbClr val="F4CA1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4FEFBD-DCC2-4275-B80C-667DA9EC9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4961" y="1143000"/>
            <a:ext cx="9022080" cy="3163892"/>
          </a:xfrm>
        </p:spPr>
        <p:txBody>
          <a:bodyPr anchor="b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47076A-408F-4112-B7BB-05EAEC61A4D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584959" y="4737102"/>
            <a:ext cx="6289039" cy="330196"/>
          </a:xfrm>
        </p:spPr>
        <p:txBody>
          <a:bodyPr anchor="t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4">
                    <a:lumMod val="60000"/>
                    <a:lumOff val="40000"/>
                  </a:schemeClr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1"/>
            <a:r>
              <a:rPr lang="en-US"/>
              <a:t>Second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8B091F3-7EC7-4951-ACCE-9838A22C5D6D}"/>
              </a:ext>
            </a:extLst>
          </p:cNvPr>
          <p:cNvSpPr>
            <a:spLocks noEditPoints="1"/>
          </p:cNvSpPr>
          <p:nvPr/>
        </p:nvSpPr>
        <p:spPr bwMode="black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B284A7-01E8-4058-932A-15271654A1B7}"/>
              </a:ext>
            </a:extLst>
          </p:cNvPr>
          <p:cNvSpPr/>
          <p:nvPr/>
        </p:nvSpPr>
        <p:spPr bwMode="black"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bg1"/>
                </a:solidFill>
              </a:rPr>
              <a:t>©2018 Visa. All rights reserved. Visa confidential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2DBD0450-BDDE-4377-9123-A0FB98AB9D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1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/>
        </p:nvSpPr>
        <p:spPr>
          <a:xfrm>
            <a:off x="44487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bg1"/>
                </a:solidFill>
              </a:rPr>
              <a:pPr/>
              <a:t>‹#›</a:t>
            </a:fld>
            <a:endParaRPr lang="en-US" sz="8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107A847-E418-4B67-8AAE-E40AE1F22084}"/>
              </a:ext>
            </a:extLst>
          </p:cNvPr>
          <p:cNvGrpSpPr/>
          <p:nvPr/>
        </p:nvGrpSpPr>
        <p:grpSpPr>
          <a:xfrm>
            <a:off x="681952" y="1437285"/>
            <a:ext cx="665169" cy="535375"/>
            <a:chOff x="3814503" y="701634"/>
            <a:chExt cx="655119" cy="527284"/>
          </a:xfrm>
          <a:solidFill>
            <a:schemeClr val="accent4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5183A45-8173-4663-8B53-609A6C4FEDF1}"/>
                </a:ext>
              </a:extLst>
            </p:cNvPr>
            <p:cNvSpPr/>
            <p:nvPr userDrawn="1"/>
          </p:nvSpPr>
          <p:spPr>
            <a:xfrm>
              <a:off x="3814503" y="701634"/>
              <a:ext cx="327883" cy="527284"/>
            </a:xfrm>
            <a:custGeom>
              <a:avLst/>
              <a:gdLst/>
              <a:ahLst/>
              <a:cxnLst/>
              <a:rect l="l" t="t" r="r" b="b"/>
              <a:pathLst>
                <a:path w="327883" h="527284">
                  <a:moveTo>
                    <a:pt x="278546" y="0"/>
                  </a:moveTo>
                  <a:cubicBezTo>
                    <a:pt x="289510" y="0"/>
                    <a:pt x="298589" y="514"/>
                    <a:pt x="305784" y="1542"/>
                  </a:cubicBezTo>
                  <a:cubicBezTo>
                    <a:pt x="312979" y="2570"/>
                    <a:pt x="318461" y="4283"/>
                    <a:pt x="322230" y="6681"/>
                  </a:cubicBezTo>
                  <a:cubicBezTo>
                    <a:pt x="325998" y="9079"/>
                    <a:pt x="327883" y="12334"/>
                    <a:pt x="327883" y="16446"/>
                  </a:cubicBezTo>
                  <a:cubicBezTo>
                    <a:pt x="327883" y="20557"/>
                    <a:pt x="326512" y="25353"/>
                    <a:pt x="323771" y="30835"/>
                  </a:cubicBezTo>
                  <a:lnTo>
                    <a:pt x="189124" y="313493"/>
                  </a:lnTo>
                  <a:lnTo>
                    <a:pt x="189124" y="443001"/>
                  </a:lnTo>
                  <a:cubicBezTo>
                    <a:pt x="189124" y="460817"/>
                    <a:pt x="187239" y="475207"/>
                    <a:pt x="183471" y="486170"/>
                  </a:cubicBezTo>
                  <a:cubicBezTo>
                    <a:pt x="179702" y="497134"/>
                    <a:pt x="173877" y="505700"/>
                    <a:pt x="165997" y="511867"/>
                  </a:cubicBezTo>
                  <a:cubicBezTo>
                    <a:pt x="158117" y="518034"/>
                    <a:pt x="148181" y="522145"/>
                    <a:pt x="136190" y="524201"/>
                  </a:cubicBezTo>
                  <a:cubicBezTo>
                    <a:pt x="124198" y="526256"/>
                    <a:pt x="109980" y="527284"/>
                    <a:pt x="93534" y="527284"/>
                  </a:cubicBezTo>
                  <a:cubicBezTo>
                    <a:pt x="77089" y="527284"/>
                    <a:pt x="63042" y="526256"/>
                    <a:pt x="51393" y="524201"/>
                  </a:cubicBezTo>
                  <a:cubicBezTo>
                    <a:pt x="39744" y="522145"/>
                    <a:pt x="30151" y="518034"/>
                    <a:pt x="22613" y="511867"/>
                  </a:cubicBezTo>
                  <a:cubicBezTo>
                    <a:pt x="15076" y="505700"/>
                    <a:pt x="9422" y="497134"/>
                    <a:pt x="5654" y="486170"/>
                  </a:cubicBezTo>
                  <a:cubicBezTo>
                    <a:pt x="1885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4" y="385956"/>
                  </a:cubicBezTo>
                  <a:cubicBezTo>
                    <a:pt x="5140" y="368482"/>
                    <a:pt x="8395" y="351866"/>
                    <a:pt x="12849" y="336105"/>
                  </a:cubicBezTo>
                  <a:cubicBezTo>
                    <a:pt x="17303" y="320345"/>
                    <a:pt x="23470" y="304756"/>
                    <a:pt x="31350" y="289338"/>
                  </a:cubicBezTo>
                  <a:cubicBezTo>
                    <a:pt x="39230" y="273921"/>
                    <a:pt x="48652" y="257646"/>
                    <a:pt x="59615" y="240516"/>
                  </a:cubicBezTo>
                  <a:lnTo>
                    <a:pt x="198374" y="29808"/>
                  </a:lnTo>
                  <a:cubicBezTo>
                    <a:pt x="201801" y="24326"/>
                    <a:pt x="205569" y="19872"/>
                    <a:pt x="209681" y="16446"/>
                  </a:cubicBezTo>
                  <a:cubicBezTo>
                    <a:pt x="213792" y="13019"/>
                    <a:pt x="218931" y="10107"/>
                    <a:pt x="225098" y="7709"/>
                  </a:cubicBezTo>
                  <a:cubicBezTo>
                    <a:pt x="231265" y="5311"/>
                    <a:pt x="238632" y="3426"/>
                    <a:pt x="247197" y="2056"/>
                  </a:cubicBezTo>
                  <a:cubicBezTo>
                    <a:pt x="255762" y="685"/>
                    <a:pt x="266212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8B4A94F-568E-4739-92D3-5901D526115D}"/>
                </a:ext>
              </a:extLst>
            </p:cNvPr>
            <p:cNvSpPr/>
            <p:nvPr userDrawn="1"/>
          </p:nvSpPr>
          <p:spPr>
            <a:xfrm>
              <a:off x="4141180" y="701634"/>
              <a:ext cx="328442" cy="527284"/>
            </a:xfrm>
            <a:custGeom>
              <a:avLst/>
              <a:gdLst/>
              <a:ahLst/>
              <a:cxnLst/>
              <a:rect l="l" t="t" r="r" b="b"/>
              <a:pathLst>
                <a:path w="328442" h="527284">
                  <a:moveTo>
                    <a:pt x="278546" y="0"/>
                  </a:moveTo>
                  <a:cubicBezTo>
                    <a:pt x="289509" y="0"/>
                    <a:pt x="298760" y="514"/>
                    <a:pt x="306297" y="1542"/>
                  </a:cubicBezTo>
                  <a:cubicBezTo>
                    <a:pt x="313835" y="2570"/>
                    <a:pt x="319317" y="4283"/>
                    <a:pt x="322743" y="6681"/>
                  </a:cubicBezTo>
                  <a:cubicBezTo>
                    <a:pt x="326169" y="9079"/>
                    <a:pt x="328053" y="12334"/>
                    <a:pt x="328396" y="16446"/>
                  </a:cubicBezTo>
                  <a:cubicBezTo>
                    <a:pt x="328739" y="20557"/>
                    <a:pt x="327197" y="25353"/>
                    <a:pt x="323771" y="30835"/>
                  </a:cubicBezTo>
                  <a:lnTo>
                    <a:pt x="189123" y="313493"/>
                  </a:lnTo>
                  <a:lnTo>
                    <a:pt x="189123" y="443001"/>
                  </a:lnTo>
                  <a:cubicBezTo>
                    <a:pt x="189123" y="460817"/>
                    <a:pt x="187239" y="475207"/>
                    <a:pt x="183470" y="486170"/>
                  </a:cubicBezTo>
                  <a:cubicBezTo>
                    <a:pt x="179701" y="497134"/>
                    <a:pt x="173877" y="505700"/>
                    <a:pt x="165997" y="511867"/>
                  </a:cubicBezTo>
                  <a:cubicBezTo>
                    <a:pt x="158116" y="518034"/>
                    <a:pt x="148181" y="522145"/>
                    <a:pt x="136189" y="524201"/>
                  </a:cubicBezTo>
                  <a:cubicBezTo>
                    <a:pt x="124198" y="526256"/>
                    <a:pt x="109979" y="527284"/>
                    <a:pt x="93534" y="527284"/>
                  </a:cubicBezTo>
                  <a:cubicBezTo>
                    <a:pt x="77088" y="527284"/>
                    <a:pt x="63041" y="526256"/>
                    <a:pt x="51392" y="524201"/>
                  </a:cubicBezTo>
                  <a:cubicBezTo>
                    <a:pt x="39743" y="522145"/>
                    <a:pt x="30150" y="518034"/>
                    <a:pt x="22612" y="511867"/>
                  </a:cubicBezTo>
                  <a:cubicBezTo>
                    <a:pt x="15075" y="505700"/>
                    <a:pt x="9422" y="497134"/>
                    <a:pt x="5653" y="486170"/>
                  </a:cubicBezTo>
                  <a:cubicBezTo>
                    <a:pt x="1884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3" y="385956"/>
                  </a:cubicBezTo>
                  <a:cubicBezTo>
                    <a:pt x="5139" y="368482"/>
                    <a:pt x="8394" y="351866"/>
                    <a:pt x="12848" y="336105"/>
                  </a:cubicBezTo>
                  <a:cubicBezTo>
                    <a:pt x="17302" y="320345"/>
                    <a:pt x="23469" y="304756"/>
                    <a:pt x="31349" y="289338"/>
                  </a:cubicBezTo>
                  <a:cubicBezTo>
                    <a:pt x="39229" y="273921"/>
                    <a:pt x="48651" y="257646"/>
                    <a:pt x="59615" y="240516"/>
                  </a:cubicBezTo>
                  <a:lnTo>
                    <a:pt x="198374" y="29808"/>
                  </a:lnTo>
                  <a:cubicBezTo>
                    <a:pt x="201800" y="24326"/>
                    <a:pt x="205569" y="19872"/>
                    <a:pt x="209680" y="16446"/>
                  </a:cubicBezTo>
                  <a:cubicBezTo>
                    <a:pt x="213791" y="13019"/>
                    <a:pt x="218931" y="10107"/>
                    <a:pt x="225098" y="7709"/>
                  </a:cubicBezTo>
                  <a:cubicBezTo>
                    <a:pt x="231265" y="5311"/>
                    <a:pt x="238631" y="3426"/>
                    <a:pt x="247196" y="2056"/>
                  </a:cubicBezTo>
                  <a:cubicBezTo>
                    <a:pt x="255762" y="685"/>
                    <a:pt x="266211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230603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365364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80771309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2267713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8521703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092200"/>
            <a:ext cx="6096000" cy="52306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5486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055794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92642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19886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6096000" y="-1"/>
            <a:ext cx="6099048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00799" y="3080187"/>
            <a:ext cx="5486400" cy="697627"/>
          </a:xfrm>
        </p:spPr>
        <p:txBody>
          <a:bodyPr anchor="ctr"/>
          <a:lstStyle>
            <a:lvl1pPr algn="l">
              <a:spcBef>
                <a:spcPts val="0"/>
              </a:spcBef>
              <a:defRPr sz="53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black">
          <a:xfrm>
            <a:off x="11121974" y="6616703"/>
            <a:ext cx="883255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933">
                <a:solidFill>
                  <a:srgbClr val="FFF1CA"/>
                </a:solidFill>
              </a:rPr>
              <a:t>Visa Confidentia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6400799" y="6631134"/>
            <a:ext cx="2159440" cy="133307"/>
            <a:chOff x="228600" y="4973347"/>
            <a:chExt cx="1619580" cy="99980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gray">
            <a:xfrm>
              <a:off x="363398" y="4976425"/>
              <a:ext cx="1484782" cy="969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en-US" sz="933">
                  <a:solidFill>
                    <a:srgbClr val="FFF1CA"/>
                  </a:solidFill>
                </a:rPr>
                <a:t>|  Presentation Title  |  Month XX, Year</a:t>
              </a:r>
            </a:p>
          </p:txBody>
        </p:sp>
        <p:sp>
          <p:nvSpPr>
            <p:cNvPr id="12" name="TextBox 11"/>
            <p:cNvSpPr txBox="1"/>
            <p:nvPr/>
          </p:nvSpPr>
          <p:spPr bwMode="gray">
            <a:xfrm>
              <a:off x="228600" y="4973347"/>
              <a:ext cx="110607" cy="969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800">
                  <a:solidFill>
                    <a:srgbClr val="0065EA"/>
                  </a:solidFill>
                </a:defRPr>
              </a:lvl1pPr>
            </a:lstStyle>
            <a:p>
              <a:pPr lvl="0"/>
              <a:fld id="{8E9DF562-4D88-4A5A-AAF6-44DA0968931F}" type="slidenum">
                <a:rPr lang="en-US" sz="933" smtClean="0">
                  <a:solidFill>
                    <a:srgbClr val="FFF1CA"/>
                  </a:solidFill>
                </a:rPr>
                <a:pPr lvl="0"/>
                <a:t>‹#›</a:t>
              </a:fld>
              <a:endParaRPr lang="en-US" sz="933">
                <a:solidFill>
                  <a:srgbClr val="FFF1C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194091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ld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5772198" y="6616703"/>
            <a:ext cx="64761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Internal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FFF1CA"/>
                </a:solidFill>
              </a:rPr>
              <a:t>|  Presentation Title  |  Month XX, Year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>
                <a:solidFill>
                  <a:srgbClr val="FFF1CA"/>
                </a:solidFill>
              </a:rPr>
              <a:pPr lvl="0"/>
              <a:t>‹#›</a:t>
            </a:fld>
            <a:endParaRPr lang="en-US" sz="933">
              <a:solidFill>
                <a:srgbClr val="FFF1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7371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5772194" y="6616703"/>
            <a:ext cx="64761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Interna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28"/>
          <a:stretch/>
        </p:blipFill>
        <p:spPr bwMode="black">
          <a:xfrm>
            <a:off x="11087888" y="219883"/>
            <a:ext cx="956200" cy="3380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0065EA"/>
                </a:solidFill>
              </a:rPr>
              <a:t>|  Presentation Title  |  Month XX, Year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/>
              <a:pPr lvl="0"/>
              <a:t>‹#›</a:t>
            </a:fld>
            <a:endParaRPr lang="en-US" sz="933"/>
          </a:p>
        </p:txBody>
      </p:sp>
    </p:spTree>
    <p:extLst>
      <p:ext uri="{BB962C8B-B14F-4D97-AF65-F5344CB8AC3E}">
        <p14:creationId xmlns:p14="http://schemas.microsoft.com/office/powerpoint/2010/main" val="4505126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o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9800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234248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">
            <a:extLst>
              <a:ext uri="{FF2B5EF4-FFF2-40B4-BE49-F238E27FC236}">
                <a16:creationId xmlns:a16="http://schemas.microsoft.com/office/drawing/2014/main" id="{1D04F47F-6AD8-47C6-A83F-59FF551F0F7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37793652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4817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709701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7500" y="3245142"/>
            <a:ext cx="5080000" cy="558166"/>
          </a:xfrm>
        </p:spPr>
        <p:txBody>
          <a:bodyPr wrap="square" anchor="b">
            <a:spAutoFit/>
          </a:bodyPr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9693" y="4019551"/>
            <a:ext cx="50678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1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grpSp>
        <p:nvGrpSpPr>
          <p:cNvPr id="22" name="Group 21"/>
          <p:cNvGrpSpPr/>
          <p:nvPr userDrawn="1"/>
        </p:nvGrpSpPr>
        <p:grpSpPr bwMode="gray">
          <a:xfrm>
            <a:off x="6058675" y="1617483"/>
            <a:ext cx="6133325" cy="3020036"/>
            <a:chOff x="4544006" y="1617482"/>
            <a:chExt cx="4599994" cy="3020036"/>
          </a:xfrm>
        </p:grpSpPr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44006" y="3187828"/>
              <a:ext cx="1689414" cy="549060"/>
            </a:xfrm>
            <a:prstGeom prst="rect">
              <a:avLst/>
            </a:prstGeom>
          </p:spPr>
        </p:pic>
        <p:grpSp>
          <p:nvGrpSpPr>
            <p:cNvPr id="24" name="Group 23"/>
            <p:cNvGrpSpPr/>
            <p:nvPr userDrawn="1"/>
          </p:nvGrpSpPr>
          <p:grpSpPr bwMode="gray">
            <a:xfrm>
              <a:off x="6884010" y="2674775"/>
              <a:ext cx="2259987" cy="454637"/>
              <a:chOff x="9687151" y="3306297"/>
              <a:chExt cx="1711639" cy="454637"/>
            </a:xfrm>
          </p:grpSpPr>
          <p:sp>
            <p:nvSpPr>
              <p:cNvPr id="32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3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4" name="Rectangle 33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 bwMode="gray">
            <a:xfrm>
              <a:off x="5584850" y="1617482"/>
              <a:ext cx="2550327" cy="451865"/>
              <a:chOff x="7916736" y="-1399562"/>
              <a:chExt cx="2550327" cy="451865"/>
            </a:xfrm>
          </p:grpSpPr>
          <p:sp>
            <p:nvSpPr>
              <p:cNvPr id="2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 userDrawn="1"/>
          </p:nvSpPr>
          <p:spPr bwMode="gray">
            <a:xfrm>
              <a:off x="5113112" y="4336890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 userDrawn="1"/>
          </p:nvSpPr>
          <p:spPr bwMode="gray">
            <a:xfrm>
              <a:off x="7349540" y="3431471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8" name="Rectangle 21"/>
            <p:cNvSpPr>
              <a:spLocks noChangeArrowheads="1"/>
            </p:cNvSpPr>
            <p:nvPr userDrawn="1"/>
          </p:nvSpPr>
          <p:spPr bwMode="gray">
            <a:xfrm>
              <a:off x="8250415" y="4034176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40" name="Content Placeholder 4"/>
          <p:cNvSpPr>
            <a:spLocks noGrp="1"/>
          </p:cNvSpPr>
          <p:nvPr>
            <p:ph sz="quarter" idx="10" hasCustomPrompt="1"/>
          </p:nvPr>
        </p:nvSpPr>
        <p:spPr bwMode="gray">
          <a:xfrm>
            <a:off x="316992" y="4299879"/>
            <a:ext cx="5067808" cy="2492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462352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764943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3" y="831875"/>
            <a:ext cx="8293100" cy="558166"/>
          </a:xfrm>
        </p:spPr>
        <p:txBody>
          <a:bodyPr anchor="b">
            <a:spAutoFit/>
          </a:bodyPr>
          <a:lstStyle>
            <a:lvl1pPr algn="r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409348" y="1572601"/>
            <a:ext cx="8290560" cy="249299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title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12" hasCustomPrompt="1"/>
          </p:nvPr>
        </p:nvSpPr>
        <p:spPr bwMode="gray">
          <a:xfrm>
            <a:off x="409348" y="1856175"/>
            <a:ext cx="8290560" cy="2492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3134463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74036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1817" y="5402589"/>
            <a:ext cx="8290560" cy="261611"/>
          </a:xfrm>
        </p:spPr>
        <p:txBody>
          <a:bodyPr anchor="b"/>
          <a:lstStyle>
            <a:lvl1pPr algn="l">
              <a:spcBef>
                <a:spcPts val="1200"/>
              </a:spcBef>
              <a:defRPr sz="20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401817" y="5803901"/>
            <a:ext cx="8290560" cy="193899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01817" y="6016691"/>
            <a:ext cx="8290560" cy="193899"/>
          </a:xfrm>
        </p:spPr>
        <p:txBody>
          <a:bodyPr/>
          <a:lstStyle>
            <a:lvl1pPr marL="0" indent="0" algn="l">
              <a:spcBef>
                <a:spcPts val="1200"/>
              </a:spcBef>
              <a:buNone/>
              <a:defRPr sz="14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77424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0042" y="3359061"/>
            <a:ext cx="7769860" cy="418576"/>
          </a:xfrm>
        </p:spPr>
        <p:txBody>
          <a:bodyPr anchor="ctr"/>
          <a:lstStyle>
            <a:lvl1pPr algn="l">
              <a:spcBef>
                <a:spcPts val="12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20237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4065955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5801"/>
            <a:ext cx="11582400" cy="249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22192244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 bwMode="gray">
          <a:xfrm>
            <a:off x="316992" y="1188721"/>
            <a:ext cx="11582400" cy="134703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85553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4800" y="3413760"/>
            <a:ext cx="5486400" cy="488339"/>
          </a:xfrm>
        </p:spPr>
        <p:txBody>
          <a:bodyPr anchor="b">
            <a:spAutoFit/>
          </a:bodyPr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22" name="Group 21"/>
          <p:cNvGrpSpPr/>
          <p:nvPr/>
        </p:nvGrpSpPr>
        <p:grpSpPr bwMode="gray">
          <a:xfrm>
            <a:off x="6535979" y="1346421"/>
            <a:ext cx="5666621" cy="928659"/>
            <a:chOff x="8900258" y="2764711"/>
            <a:chExt cx="2063436" cy="454637"/>
          </a:xfrm>
        </p:grpSpPr>
        <p:sp>
          <p:nvSpPr>
            <p:cNvPr id="23" name="Rectangle 21"/>
            <p:cNvSpPr>
              <a:spLocks noChangeArrowheads="1"/>
            </p:cNvSpPr>
            <p:nvPr/>
          </p:nvSpPr>
          <p:spPr bwMode="gray">
            <a:xfrm>
              <a:off x="9925902" y="2920622"/>
              <a:ext cx="1037792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8900258" y="2764711"/>
              <a:ext cx="1814113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gray">
            <a:xfrm>
              <a:off x="9925902" y="2917848"/>
              <a:ext cx="788461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4181857"/>
            <a:ext cx="54864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  <a:lvl2pPr marL="306908" indent="0">
              <a:buNone/>
              <a:defRPr/>
            </a:lvl2pPr>
            <a:lvl3pPr marL="644975" indent="0">
              <a:buNone/>
              <a:defRPr/>
            </a:lvl3pPr>
            <a:lvl4pPr marL="916493" indent="0">
              <a:buNone/>
              <a:defRPr/>
            </a:lvl4pPr>
            <a:lvl5pPr marL="1230176" indent="0">
              <a:buNone/>
              <a:defRPr/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4800" y="4576663"/>
            <a:ext cx="54864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9544" y="3174717"/>
            <a:ext cx="1973067" cy="6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371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16992" y="1527049"/>
            <a:ext cx="11582400" cy="1347035"/>
          </a:xfrm>
        </p:spPr>
        <p:txBody>
          <a:bodyPr/>
          <a:lstStyle>
            <a:lvl1pPr>
              <a:defRPr/>
            </a:lvl1pPr>
            <a:lvl3pPr>
              <a:defRPr/>
            </a:lvl3pPr>
          </a:lstStyle>
          <a:p>
            <a:pPr lvl="0"/>
            <a:r>
              <a:rPr lang="en-US"/>
              <a:t>Click to edit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992" y="1042418"/>
            <a:ext cx="11582400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29807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61308" y="243841"/>
            <a:ext cx="7977632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black">
          <a:xfrm>
            <a:off x="4048554" y="6616704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>
                <a:solidFill>
                  <a:srgbClr val="5C5C5C"/>
                </a:solidFill>
              </a:rPr>
              <a:t>|  Presentation Title  |  Month XX, Yea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844088" y="663465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</a:rPr>
              <a:pPr/>
              <a:t>‹#›</a:t>
            </a:fld>
            <a:endParaRPr lang="en-US" sz="700">
              <a:solidFill>
                <a:srgbClr val="5C5C5C"/>
              </a:solidFill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873500" y="1527049"/>
            <a:ext cx="797356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gray">
          <a:xfrm>
            <a:off x="9550400" y="6616704"/>
            <a:ext cx="12192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874008" y="1042418"/>
            <a:ext cx="7973568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8944" y="6521980"/>
            <a:ext cx="902208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49384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16992" y="1527049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374892" y="1527049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16992" y="1042418"/>
            <a:ext cx="5474208" cy="8863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 bwMode="gray">
          <a:xfrm>
            <a:off x="6374892" y="1042418"/>
            <a:ext cx="5474208" cy="8863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5189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316992" y="1188721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336792" y="1188721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771844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6273800" y="3222760"/>
            <a:ext cx="5702299" cy="418576"/>
          </a:xfrm>
        </p:spPr>
        <p:txBody>
          <a:bodyPr anchor="ctr"/>
          <a:lstStyle>
            <a:lvl1pPr algn="l">
              <a:spcBef>
                <a:spcPts val="10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6447573" y="6616704"/>
            <a:ext cx="334843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>
                <a:solidFill>
                  <a:schemeClr val="bg2"/>
                </a:solidFill>
                <a:latin typeface="+mn-lt"/>
              </a:rPr>
              <a:t> Year</a:t>
            </a:r>
            <a:endParaRPr lang="en-US" sz="7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5823494" y="6616704"/>
            <a:ext cx="532191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r"/>
              <a:t>‹#›</a:t>
            </a:fld>
            <a:endParaRPr lang="en-US" sz="7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gray">
          <a:xfrm>
            <a:off x="9550400" y="6616704"/>
            <a:ext cx="12192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8944" y="6521980"/>
            <a:ext cx="902208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69735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6992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42409969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6992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522748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18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6992" y="212140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8639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18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6992" y="212140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57557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accent2"/>
                </a:solidFill>
                <a:latin typeface="+mn-lt"/>
              </a:rPr>
              <a:t>Visa Confidentia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316992" y="3124302"/>
            <a:ext cx="11582400" cy="609399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47800" y="6616704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2"/>
                </a:solidFill>
                <a:latin typeface="+mn-lt"/>
              </a:rPr>
              <a:pPr algn="l"/>
              <a:t>‹#›</a:t>
            </a:fld>
            <a:endParaRPr lang="en-US" sz="70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8"/>
          <a:stretch/>
        </p:blipFill>
        <p:spPr>
          <a:xfrm>
            <a:off x="11067992" y="250522"/>
            <a:ext cx="974283" cy="23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44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848649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7994" y="250521"/>
            <a:ext cx="975361" cy="237744"/>
          </a:xfrm>
          <a:prstGeom prst="rect">
            <a:avLst/>
          </a:prstGeom>
        </p:spPr>
      </p:pic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Visa Confidentia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316992" y="3124302"/>
            <a:ext cx="11606784" cy="609399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552265" y="6616704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|  Presentation Title  |  Month XX,</a:t>
            </a:r>
            <a:r>
              <a:rPr lang="en-US" sz="700" baseline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 Year</a:t>
            </a:r>
            <a:endParaRPr lang="en-US" sz="70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347800" y="6616704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pPr algn="l"/>
              <a:t>‹#›</a:t>
            </a:fld>
            <a:endParaRPr lang="en-US" sz="70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35827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321589" y="3438145"/>
            <a:ext cx="5065011" cy="366255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10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8675" y="3187829"/>
            <a:ext cx="2252552" cy="549060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>
          <a:xfrm>
            <a:off x="9178682" y="2674776"/>
            <a:ext cx="3013316" cy="454637"/>
            <a:chOff x="9687151" y="3306297"/>
            <a:chExt cx="1711639" cy="454637"/>
          </a:xfrm>
        </p:grpSpPr>
        <p:sp>
          <p:nvSpPr>
            <p:cNvPr id="20" name="Rectangle 21"/>
            <p:cNvSpPr>
              <a:spLocks noChangeArrowheads="1"/>
            </p:cNvSpPr>
            <p:nvPr/>
          </p:nvSpPr>
          <p:spPr bwMode="gray">
            <a:xfrm>
              <a:off x="10325876" y="3462208"/>
              <a:ext cx="1072914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gray">
            <a:xfrm>
              <a:off x="9687151" y="3306297"/>
              <a:ext cx="1034868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gray">
            <a:xfrm>
              <a:off x="10325876" y="3459434"/>
              <a:ext cx="396143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7446469" y="1617484"/>
            <a:ext cx="3400436" cy="451865"/>
            <a:chOff x="7916736" y="-1399562"/>
            <a:chExt cx="2550327" cy="451865"/>
          </a:xfrm>
        </p:grpSpPr>
        <p:sp>
          <p:nvSpPr>
            <p:cNvPr id="25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905000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gray">
            <a:xfrm>
              <a:off x="7916736" y="-1399562"/>
              <a:ext cx="1764690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119363" cy="147489"/>
            </a:xfrm>
            <a:prstGeom prst="rect">
              <a:avLst/>
            </a:prstGeom>
            <a:gradFill flip="none" rotWithShape="1">
              <a:gsLst>
                <a:gs pos="0">
                  <a:srgbClr val="FFCB00"/>
                </a:gs>
                <a:gs pos="100000">
                  <a:srgbClr val="FBE1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28" name="Rectangle 21"/>
          <p:cNvSpPr>
            <a:spLocks noChangeArrowheads="1"/>
          </p:cNvSpPr>
          <p:nvPr userDrawn="1"/>
        </p:nvSpPr>
        <p:spPr bwMode="gray">
          <a:xfrm>
            <a:off x="6817483" y="4336891"/>
            <a:ext cx="2361197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1"/>
          <p:cNvSpPr>
            <a:spLocks noChangeArrowheads="1"/>
          </p:cNvSpPr>
          <p:nvPr userDrawn="1"/>
        </p:nvSpPr>
        <p:spPr bwMode="gray">
          <a:xfrm>
            <a:off x="9799387" y="3431471"/>
            <a:ext cx="1967445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gray">
          <a:xfrm>
            <a:off x="11000555" y="4034177"/>
            <a:ext cx="1191447" cy="300628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47610071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4" y="263526"/>
            <a:ext cx="11516784" cy="558166"/>
          </a:xfrm>
        </p:spPr>
        <p:txBody>
          <a:bodyPr/>
          <a:lstStyle>
            <a:lvl1pPr>
              <a:defRPr>
                <a:solidFill>
                  <a:srgbClr val="1A1F7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Visa Europe Secret</a:t>
            </a: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FAE64A-D17C-4CD5-9128-A40528F2E9B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368304" y="906463"/>
            <a:ext cx="11516784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241407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7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087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93" y="390526"/>
            <a:ext cx="10013420" cy="558166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1593" y="1597156"/>
            <a:ext cx="11240516" cy="1042337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60352" indent="-233351">
              <a:defRPr sz="2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628619" indent="-168266">
              <a:defRPr sz="20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21709294"/>
      </p:ext>
    </p:extLst>
  </p:cSld>
  <p:clrMapOvr>
    <a:masterClrMapping/>
  </p:clrMapOvr>
  <p:transition>
    <p:wipe dir="r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3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7842958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699885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420066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brow 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493223"/>
            <a:ext cx="11582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923481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04801" y="213774"/>
            <a:ext cx="3093027" cy="166199"/>
          </a:xfrm>
        </p:spPr>
        <p:txBody>
          <a:bodyPr anchor="b"/>
          <a:lstStyle>
            <a:lvl1pPr marL="0" indent="0">
              <a:buNone/>
              <a:defRPr sz="1200" cap="all" baseline="0">
                <a:solidFill>
                  <a:schemeClr val="tx2"/>
                </a:solidFill>
              </a:defRPr>
            </a:lvl1pPr>
            <a:lvl2pPr marL="306900" indent="0">
              <a:buNone/>
              <a:defRPr sz="1100"/>
            </a:lvl2pPr>
            <a:lvl3pPr marL="644959" indent="0">
              <a:buNone/>
              <a:defRPr sz="1100"/>
            </a:lvl3pPr>
            <a:lvl4pPr marL="916472" indent="0">
              <a:buNone/>
              <a:defRPr sz="1100"/>
            </a:lvl4pPr>
            <a:lvl5pPr marL="1230144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277516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0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414272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62357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2"/>
            <a:ext cx="11582400" cy="55816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1414272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704090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1630941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12483" r="7756" b="20655"/>
          <a:stretch/>
        </p:blipFill>
        <p:spPr>
          <a:xfrm>
            <a:off x="-64034" y="0"/>
            <a:ext cx="12256034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-64034" y="0"/>
            <a:ext cx="122560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Rectangle 17"/>
          <p:cNvSpPr/>
          <p:nvPr/>
        </p:nvSpPr>
        <p:spPr>
          <a:xfrm>
            <a:off x="-2" y="1"/>
            <a:ext cx="12192002" cy="805161"/>
          </a:xfrm>
          <a:prstGeom prst="rect">
            <a:avLst/>
          </a:prstGeom>
          <a:gradFill>
            <a:gsLst>
              <a:gs pos="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 err="1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7873" y="29532"/>
            <a:ext cx="2847385" cy="644143"/>
          </a:xfrm>
          <a:prstGeom prst="rect">
            <a:avLst/>
          </a:prstGeom>
        </p:spPr>
      </p:pic>
      <p:cxnSp>
        <p:nvCxnSpPr>
          <p:cNvPr id="22" name="Straight Connector 21"/>
          <p:cNvCxnSpPr/>
          <p:nvPr/>
        </p:nvCxnSpPr>
        <p:spPr>
          <a:xfrm>
            <a:off x="-64034" y="805161"/>
            <a:ext cx="1225603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576858" y="6705358"/>
            <a:ext cx="24384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84FE818-A1F0-494F-B3A7-6F296E06B0F1}" type="slidenum">
              <a:rPr lang="en-US" sz="800" b="0" i="0" u="none" strike="noStrike" kern="1200" spc="0" baseline="0" smtClean="0">
                <a:solidFill>
                  <a:srgbClr val="5C5C5C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800" b="0" i="0" u="none" strike="noStrike" kern="1200" spc="0" baseline="0">
              <a:solidFill>
                <a:srgbClr val="5C5C5C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44783" y="6705358"/>
            <a:ext cx="24384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i="0" u="none" strike="noStrike" kern="1200" spc="0" baseline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Visa Confidential</a:t>
            </a:r>
            <a:r>
              <a:rPr lang="en-US" sz="800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</a:t>
            </a:r>
            <a:endParaRPr lang="en-US" sz="800" b="1" i="0" u="none" strike="noStrike" kern="1200" spc="0" baseline="0">
              <a:solidFill>
                <a:srgbClr val="5C5C5C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97769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188720"/>
            <a:ext cx="6096000" cy="2214068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6096000" cy="558166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684703" y="2109086"/>
            <a:ext cx="5514613" cy="2664039"/>
            <a:chOff x="5013526" y="1318509"/>
            <a:chExt cx="4135960" cy="2664039"/>
          </a:xfrm>
        </p:grpSpPr>
        <p:sp>
          <p:nvSpPr>
            <p:cNvPr id="13" name="Rectangle 21"/>
            <p:cNvSpPr>
              <a:spLocks noChangeArrowheads="1"/>
            </p:cNvSpPr>
            <p:nvPr/>
          </p:nvSpPr>
          <p:spPr bwMode="gray">
            <a:xfrm>
              <a:off x="5013526" y="2432533"/>
              <a:ext cx="150040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gray">
            <a:xfrm>
              <a:off x="6172200" y="1318509"/>
              <a:ext cx="2547518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7871155" y="1546283"/>
              <a:ext cx="127833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7871155" y="1546284"/>
              <a:ext cx="848563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gray">
            <a:xfrm>
              <a:off x="5920002" y="3540418"/>
              <a:ext cx="195359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6882385" y="3319352"/>
              <a:ext cx="183733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6882385" y="3547127"/>
              <a:ext cx="991209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0687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11582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00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4987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1188722"/>
            <a:ext cx="6096000" cy="5138365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127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 and Two Right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3072384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201163" indent="-201163">
              <a:buNone/>
              <a:defRPr lang="en-US" sz="1600"/>
            </a:lvl1pPr>
          </a:lstStyle>
          <a:p>
            <a:pPr marL="0" lvl="0" indent="0"/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5480304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3254701"/>
            <a:ext cx="6096000" cy="3072384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201163" indent="-201163">
              <a:buNone/>
              <a:defRPr lang="en-US" sz="1600"/>
            </a:lvl1pPr>
          </a:lstStyle>
          <a:p>
            <a:pPr marL="0" lvl="0" indent="0"/>
            <a:r>
              <a:rPr lang="en-US"/>
              <a:t>Click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5115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23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Large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2"/>
            <a:ext cx="6096000" cy="6327084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5480304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8306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ullets and Narrow Left Phot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346440" y="243841"/>
            <a:ext cx="8534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2"/>
            <a:ext cx="3047999" cy="6327085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46440" y="1527048"/>
            <a:ext cx="8534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8" hasCustomPrompt="1"/>
          </p:nvPr>
        </p:nvSpPr>
        <p:spPr>
          <a:xfrm>
            <a:off x="3352800" y="1042418"/>
            <a:ext cx="8534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02492408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ullets and Large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6096000" cy="6327085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400800" y="243841"/>
            <a:ext cx="5486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00800" y="1527048"/>
            <a:ext cx="5486400" cy="221406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8" hasCustomPrompt="1"/>
          </p:nvPr>
        </p:nvSpPr>
        <p:spPr>
          <a:xfrm>
            <a:off x="6400800" y="1042418"/>
            <a:ext cx="5486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63721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627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"/>
            <a:ext cx="6096000" cy="6327085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6400800" y="3222760"/>
            <a:ext cx="5486400" cy="418576"/>
          </a:xfrm>
        </p:spPr>
        <p:txBody>
          <a:bodyPr anchor="ctr"/>
          <a:lstStyle>
            <a:lvl1pPr algn="l">
              <a:spcBef>
                <a:spcPts val="10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1826238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4800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8877235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9635" y="180107"/>
            <a:ext cx="11588867" cy="387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89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2pPr>
            <a:lvl3pPr marL="914377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3pPr>
            <a:lvl4pPr marL="1371566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4pPr>
            <a:lvl5pPr marL="1828754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Process 1"/>
          <p:cNvSpPr/>
          <p:nvPr userDrawn="1"/>
        </p:nvSpPr>
        <p:spPr>
          <a:xfrm>
            <a:off x="0" y="180107"/>
            <a:ext cx="339635" cy="812671"/>
          </a:xfrm>
          <a:prstGeom prst="flowChart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ubtitle 2"/>
          <p:cNvSpPr txBox="1">
            <a:spLocks/>
          </p:cNvSpPr>
          <p:nvPr userDrawn="1"/>
        </p:nvSpPr>
        <p:spPr>
          <a:xfrm>
            <a:off x="236134" y="6561280"/>
            <a:ext cx="4899631" cy="2308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ED6633-62A5-BF48-8796-52C7CA6AEBF3}" type="slidenum">
              <a:rPr lang="en-US" sz="1000" b="0" i="0" noProof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‹#›</a:t>
            </a:fld>
            <a:r>
              <a:rPr lang="en-US" sz="1000" b="0" i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  |   Financial Institution and</a:t>
            </a:r>
            <a:r>
              <a:rPr lang="en-US" sz="1000" b="0" i="0" baseline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1000" b="0" i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Visa Partnership   |   Visa 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045" y="6563932"/>
            <a:ext cx="509699" cy="24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83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B72E52E-5355-43BF-B125-7B898109AF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219129" y="3982141"/>
            <a:ext cx="3638583" cy="2483110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698766B-E17D-4DF1-B813-C7D61CB0C6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38422" y="1"/>
            <a:ext cx="8153579" cy="6857999"/>
          </a:xfrm>
          <a:custGeom>
            <a:avLst/>
            <a:gdLst>
              <a:gd name="connsiteX0" fmla="*/ 5680616 w 8153579"/>
              <a:gd name="connsiteY0" fmla="*/ 0 h 6857999"/>
              <a:gd name="connsiteX1" fmla="*/ 8153579 w 8153579"/>
              <a:gd name="connsiteY1" fmla="*/ 0 h 6857999"/>
              <a:gd name="connsiteX2" fmla="*/ 8153579 w 8153579"/>
              <a:gd name="connsiteY2" fmla="*/ 6857999 h 6857999"/>
              <a:gd name="connsiteX3" fmla="*/ 2532811 w 8153579"/>
              <a:gd name="connsiteY3" fmla="*/ 6857999 h 6857999"/>
              <a:gd name="connsiteX4" fmla="*/ 2637574 w 8153579"/>
              <a:gd name="connsiteY4" fmla="*/ 6500123 h 6857999"/>
              <a:gd name="connsiteX5" fmla="*/ 2525247 w 8153579"/>
              <a:gd name="connsiteY5" fmla="*/ 6857999 h 6857999"/>
              <a:gd name="connsiteX6" fmla="*/ 2264126 w 8153579"/>
              <a:gd name="connsiteY6" fmla="*/ 6857999 h 6857999"/>
              <a:gd name="connsiteX7" fmla="*/ 2626461 w 8153579"/>
              <a:gd name="connsiteY7" fmla="*/ 5701605 h 6857999"/>
              <a:gd name="connsiteX8" fmla="*/ 2244703 w 8153579"/>
              <a:gd name="connsiteY8" fmla="*/ 6857999 h 6857999"/>
              <a:gd name="connsiteX9" fmla="*/ 1994710 w 8153579"/>
              <a:gd name="connsiteY9" fmla="*/ 6857999 h 6857999"/>
              <a:gd name="connsiteX10" fmla="*/ 2563485 w 8153579"/>
              <a:gd name="connsiteY10" fmla="*/ 5142087 h 6857999"/>
              <a:gd name="connsiteX11" fmla="*/ 1953956 w 8153579"/>
              <a:gd name="connsiteY11" fmla="*/ 6857999 h 6857999"/>
              <a:gd name="connsiteX12" fmla="*/ 1713646 w 8153579"/>
              <a:gd name="connsiteY12" fmla="*/ 6857999 h 6857999"/>
              <a:gd name="connsiteX13" fmla="*/ 2452352 w 8153579"/>
              <a:gd name="connsiteY13" fmla="*/ 4788218 h 6857999"/>
              <a:gd name="connsiteX14" fmla="*/ 1649430 w 8153579"/>
              <a:gd name="connsiteY14" fmla="*/ 6857999 h 6857999"/>
              <a:gd name="connsiteX15" fmla="*/ 1424773 w 8153579"/>
              <a:gd name="connsiteY15" fmla="*/ 6857999 h 6857999"/>
              <a:gd name="connsiteX16" fmla="*/ 2296764 w 8153579"/>
              <a:gd name="connsiteY16" fmla="*/ 4610358 h 6857999"/>
              <a:gd name="connsiteX17" fmla="*/ 1338111 w 8153579"/>
              <a:gd name="connsiteY17" fmla="*/ 6857999 h 6857999"/>
              <a:gd name="connsiteX18" fmla="*/ 1125251 w 8153579"/>
              <a:gd name="connsiteY18" fmla="*/ 6857999 h 6857999"/>
              <a:gd name="connsiteX19" fmla="*/ 2100428 w 8153579"/>
              <a:gd name="connsiteY19" fmla="*/ 4571450 h 6857999"/>
              <a:gd name="connsiteX20" fmla="*/ 1022431 w 8153579"/>
              <a:gd name="connsiteY20" fmla="*/ 6824348 h 6857999"/>
              <a:gd name="connsiteX21" fmla="*/ 853878 w 8153579"/>
              <a:gd name="connsiteY21" fmla="*/ 6746535 h 6857999"/>
              <a:gd name="connsiteX22" fmla="*/ 1865195 w 8153579"/>
              <a:gd name="connsiteY22" fmla="*/ 4632589 h 6857999"/>
              <a:gd name="connsiteX23" fmla="*/ 787197 w 8153579"/>
              <a:gd name="connsiteY23" fmla="*/ 6590907 h 6857999"/>
              <a:gd name="connsiteX24" fmla="*/ 642723 w 8153579"/>
              <a:gd name="connsiteY24" fmla="*/ 6505682 h 6857999"/>
              <a:gd name="connsiteX25" fmla="*/ 1592918 w 8153579"/>
              <a:gd name="connsiteY25" fmla="*/ 4771544 h 6857999"/>
              <a:gd name="connsiteX26" fmla="*/ 559373 w 8153579"/>
              <a:gd name="connsiteY26" fmla="*/ 6355612 h 6857999"/>
              <a:gd name="connsiteX27" fmla="*/ 424160 w 8153579"/>
              <a:gd name="connsiteY27" fmla="*/ 6270387 h 6857999"/>
              <a:gd name="connsiteX28" fmla="*/ 1291003 w 8153579"/>
              <a:gd name="connsiteY28" fmla="*/ 4951256 h 6857999"/>
              <a:gd name="connsiteX29" fmla="*/ 324140 w 8153579"/>
              <a:gd name="connsiteY29" fmla="*/ 6125876 h 6857999"/>
              <a:gd name="connsiteX30" fmla="*/ 213006 w 8153579"/>
              <a:gd name="connsiteY30" fmla="*/ 6031387 h 6857999"/>
              <a:gd name="connsiteX31" fmla="*/ 955750 w 8153579"/>
              <a:gd name="connsiteY31" fmla="*/ 5130970 h 6857999"/>
              <a:gd name="connsiteX32" fmla="*/ 88907 w 8153579"/>
              <a:gd name="connsiteY32" fmla="*/ 5890582 h 6857999"/>
              <a:gd name="connsiteX33" fmla="*/ 0 w 8153579"/>
              <a:gd name="connsiteY33" fmla="*/ 5796093 h 6857999"/>
              <a:gd name="connsiteX34" fmla="*/ 2480135 w 8153579"/>
              <a:gd name="connsiteY34" fmla="*/ 3580249 h 6857999"/>
              <a:gd name="connsiteX35" fmla="*/ 2507919 w 8153579"/>
              <a:gd name="connsiteY35" fmla="*/ 3608040 h 6857999"/>
              <a:gd name="connsiteX36" fmla="*/ 2804276 w 8153579"/>
              <a:gd name="connsiteY36" fmla="*/ 3261583 h 6857999"/>
              <a:gd name="connsiteX37" fmla="*/ 2859841 w 8153579"/>
              <a:gd name="connsiteY37" fmla="*/ 3306048 h 6857999"/>
              <a:gd name="connsiteX38" fmla="*/ 3133972 w 8153579"/>
              <a:gd name="connsiteY38" fmla="*/ 2937359 h 6857999"/>
              <a:gd name="connsiteX39" fmla="*/ 3211765 w 8153579"/>
              <a:gd name="connsiteY39" fmla="*/ 2992940 h 6857999"/>
              <a:gd name="connsiteX40" fmla="*/ 3458113 w 8153579"/>
              <a:gd name="connsiteY40" fmla="*/ 2613135 h 6857999"/>
              <a:gd name="connsiteX41" fmla="*/ 3558132 w 8153579"/>
              <a:gd name="connsiteY41" fmla="*/ 2679832 h 6857999"/>
              <a:gd name="connsiteX42" fmla="*/ 3787808 w 8153579"/>
              <a:gd name="connsiteY42" fmla="*/ 2294468 h 6857999"/>
              <a:gd name="connsiteX43" fmla="*/ 3904499 w 8153579"/>
              <a:gd name="connsiteY43" fmla="*/ 2361165 h 6857999"/>
              <a:gd name="connsiteX44" fmla="*/ 4117507 w 8153579"/>
              <a:gd name="connsiteY44" fmla="*/ 1970244 h 6857999"/>
              <a:gd name="connsiteX45" fmla="*/ 4250867 w 8153579"/>
              <a:gd name="connsiteY45" fmla="*/ 2042499 h 6857999"/>
              <a:gd name="connsiteX46" fmla="*/ 4447203 w 8153579"/>
              <a:gd name="connsiteY46" fmla="*/ 1646018 h 6857999"/>
              <a:gd name="connsiteX47" fmla="*/ 4591677 w 8153579"/>
              <a:gd name="connsiteY47" fmla="*/ 1718275 h 6857999"/>
              <a:gd name="connsiteX48" fmla="*/ 4776899 w 8153579"/>
              <a:gd name="connsiteY48" fmla="*/ 1321795 h 6857999"/>
              <a:gd name="connsiteX49" fmla="*/ 4932486 w 8153579"/>
              <a:gd name="connsiteY49" fmla="*/ 1394050 h 6857999"/>
              <a:gd name="connsiteX50" fmla="*/ 5106596 w 8153579"/>
              <a:gd name="connsiteY50" fmla="*/ 997570 h 6857999"/>
              <a:gd name="connsiteX51" fmla="*/ 5267740 w 8153579"/>
              <a:gd name="connsiteY51" fmla="*/ 106982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8153579" h="6857999">
                <a:moveTo>
                  <a:pt x="5680616" y="0"/>
                </a:moveTo>
                <a:lnTo>
                  <a:pt x="8153579" y="0"/>
                </a:lnTo>
                <a:lnTo>
                  <a:pt x="8153579" y="6857999"/>
                </a:lnTo>
                <a:lnTo>
                  <a:pt x="2532811" y="6857999"/>
                </a:lnTo>
                <a:lnTo>
                  <a:pt x="2637574" y="6500123"/>
                </a:lnTo>
                <a:lnTo>
                  <a:pt x="2525247" y="6857999"/>
                </a:lnTo>
                <a:lnTo>
                  <a:pt x="2264126" y="6857999"/>
                </a:lnTo>
                <a:lnTo>
                  <a:pt x="2626461" y="5701605"/>
                </a:lnTo>
                <a:lnTo>
                  <a:pt x="2244703" y="6857999"/>
                </a:lnTo>
                <a:lnTo>
                  <a:pt x="1994710" y="6857999"/>
                </a:lnTo>
                <a:lnTo>
                  <a:pt x="2563485" y="5142087"/>
                </a:lnTo>
                <a:lnTo>
                  <a:pt x="1953956" y="6857999"/>
                </a:lnTo>
                <a:lnTo>
                  <a:pt x="1713646" y="6857999"/>
                </a:lnTo>
                <a:lnTo>
                  <a:pt x="2452352" y="4788218"/>
                </a:lnTo>
                <a:lnTo>
                  <a:pt x="1649430" y="6857999"/>
                </a:lnTo>
                <a:lnTo>
                  <a:pt x="1424773" y="6857999"/>
                </a:lnTo>
                <a:lnTo>
                  <a:pt x="2296764" y="4610358"/>
                </a:lnTo>
                <a:lnTo>
                  <a:pt x="1338111" y="6857999"/>
                </a:lnTo>
                <a:lnTo>
                  <a:pt x="1125251" y="6857999"/>
                </a:lnTo>
                <a:lnTo>
                  <a:pt x="2100428" y="4571450"/>
                </a:lnTo>
                <a:lnTo>
                  <a:pt x="1022431" y="6824348"/>
                </a:lnTo>
                <a:lnTo>
                  <a:pt x="853878" y="6746535"/>
                </a:lnTo>
                <a:lnTo>
                  <a:pt x="1865195" y="4632589"/>
                </a:lnTo>
                <a:lnTo>
                  <a:pt x="787197" y="6590907"/>
                </a:lnTo>
                <a:lnTo>
                  <a:pt x="642723" y="6505682"/>
                </a:lnTo>
                <a:lnTo>
                  <a:pt x="1592918" y="4771544"/>
                </a:lnTo>
                <a:lnTo>
                  <a:pt x="559373" y="6355612"/>
                </a:lnTo>
                <a:lnTo>
                  <a:pt x="424160" y="6270387"/>
                </a:lnTo>
                <a:lnTo>
                  <a:pt x="1291003" y="4951256"/>
                </a:lnTo>
                <a:lnTo>
                  <a:pt x="324140" y="6125876"/>
                </a:lnTo>
                <a:lnTo>
                  <a:pt x="213006" y="6031387"/>
                </a:lnTo>
                <a:lnTo>
                  <a:pt x="955750" y="5130970"/>
                </a:lnTo>
                <a:lnTo>
                  <a:pt x="88907" y="5890582"/>
                </a:lnTo>
                <a:lnTo>
                  <a:pt x="0" y="5796093"/>
                </a:lnTo>
                <a:lnTo>
                  <a:pt x="2480135" y="3580249"/>
                </a:lnTo>
                <a:lnTo>
                  <a:pt x="2507919" y="3608040"/>
                </a:lnTo>
                <a:lnTo>
                  <a:pt x="2804276" y="3261583"/>
                </a:lnTo>
                <a:lnTo>
                  <a:pt x="2859841" y="3306048"/>
                </a:lnTo>
                <a:lnTo>
                  <a:pt x="3133972" y="2937359"/>
                </a:lnTo>
                <a:lnTo>
                  <a:pt x="3211765" y="2992940"/>
                </a:lnTo>
                <a:lnTo>
                  <a:pt x="3458113" y="2613135"/>
                </a:lnTo>
                <a:lnTo>
                  <a:pt x="3558132" y="2679832"/>
                </a:lnTo>
                <a:lnTo>
                  <a:pt x="3787808" y="2294468"/>
                </a:lnTo>
                <a:lnTo>
                  <a:pt x="3904499" y="2361165"/>
                </a:lnTo>
                <a:lnTo>
                  <a:pt x="4117507" y="1970244"/>
                </a:lnTo>
                <a:lnTo>
                  <a:pt x="4250867" y="2042499"/>
                </a:lnTo>
                <a:lnTo>
                  <a:pt x="4447203" y="1646018"/>
                </a:lnTo>
                <a:lnTo>
                  <a:pt x="4591677" y="1718275"/>
                </a:lnTo>
                <a:lnTo>
                  <a:pt x="4776899" y="1321795"/>
                </a:lnTo>
                <a:lnTo>
                  <a:pt x="4932486" y="1394050"/>
                </a:lnTo>
                <a:lnTo>
                  <a:pt x="5106596" y="997570"/>
                </a:lnTo>
                <a:lnTo>
                  <a:pt x="5267740" y="106982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4846320" tIns="1463040" bIns="1463040" anchor="ctr">
            <a:noAutofit/>
          </a:bodyPr>
          <a:lstStyle>
            <a:lvl1pPr algn="l">
              <a:defRPr sz="2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567C901-1246-4221-87E3-1561ACB728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3060" y="1638300"/>
            <a:ext cx="7448350" cy="98910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/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3A34663A-8630-4ACC-B51A-86DE1B76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060" y="2781299"/>
            <a:ext cx="6278277" cy="304801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1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2"/>
                </a:solidFill>
              </a:defRPr>
            </a:lvl2pPr>
            <a:lvl3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3pPr>
            <a:lvl4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  <a:lvl6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6pPr>
            <a:lvl7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7pPr>
            <a:lvl8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8pPr>
            <a:lvl9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833F65B-69E4-4F58-93D9-A5562A8A08C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4269" y="6157765"/>
            <a:ext cx="843917" cy="272735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C94FF32-DB60-4BFE-91EF-7B6F7D814B1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66344" y="3290500"/>
            <a:ext cx="6281928" cy="276999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328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245827"/>
            <a:ext cx="11582400" cy="558166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0"/>
            <a:ext cx="11582400" cy="134703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15705031"/>
      </p:ext>
    </p:extLst>
  </p:cSld>
  <p:clrMapOvr>
    <a:masterClrMapping/>
  </p:clrMapOvr>
  <p:transition>
    <p:wipe dir="r"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1" hasCustomPrompt="1"/>
          </p:nvPr>
        </p:nvSpPr>
        <p:spPr bwMode="gray">
          <a:xfrm>
            <a:off x="310799" y="557786"/>
            <a:ext cx="5564584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16994" y="932688"/>
            <a:ext cx="5558391" cy="265726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6328617" y="932688"/>
            <a:ext cx="5558391" cy="265726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6328615" y="557786"/>
            <a:ext cx="5564584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729521122"/>
      </p:ext>
    </p:extLst>
  </p:cSld>
  <p:clrMapOvr>
    <a:masterClrMapping/>
  </p:clrMapOvr>
  <p:transition>
    <p:wipe dir="r"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2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 bwMode="gray">
          <a:xfrm>
            <a:off x="322093" y="1188720"/>
            <a:ext cx="11582400" cy="134703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16992" y="243841"/>
            <a:ext cx="11582400" cy="55816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992" y="680818"/>
            <a:ext cx="11582400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334372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21589" y="3437053"/>
            <a:ext cx="5065011" cy="366255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21590" y="4019789"/>
            <a:ext cx="5063212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16992" y="4299879"/>
            <a:ext cx="5067808" cy="2492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6058675" y="1617483"/>
            <a:ext cx="6133325" cy="3020036"/>
            <a:chOff x="4544006" y="1617482"/>
            <a:chExt cx="4599994" cy="3020036"/>
          </a:xfrm>
        </p:grpSpPr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44006" y="3187828"/>
              <a:ext cx="1689414" cy="549060"/>
            </a:xfrm>
            <a:prstGeom prst="rect">
              <a:avLst/>
            </a:prstGeom>
          </p:spPr>
        </p:pic>
        <p:grpSp>
          <p:nvGrpSpPr>
            <p:cNvPr id="23" name="Group 22"/>
            <p:cNvGrpSpPr/>
            <p:nvPr userDrawn="1"/>
          </p:nvGrpSpPr>
          <p:grpSpPr>
            <a:xfrm>
              <a:off x="6884010" y="2674775"/>
              <a:ext cx="2259987" cy="454637"/>
              <a:chOff x="9687151" y="3306297"/>
              <a:chExt cx="1711639" cy="454637"/>
            </a:xfrm>
          </p:grpSpPr>
          <p:sp>
            <p:nvSpPr>
              <p:cNvPr id="31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2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3" name="Rectangle 32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5584850" y="1617482"/>
              <a:ext cx="2550327" cy="451865"/>
              <a:chOff x="7916736" y="-1399562"/>
              <a:chExt cx="2550327" cy="451865"/>
            </a:xfrm>
          </p:grpSpPr>
          <p:sp>
            <p:nvSpPr>
              <p:cNvPr id="28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29" name="Rectangle 28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0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25" name="Rectangle 21"/>
            <p:cNvSpPr>
              <a:spLocks noChangeArrowheads="1"/>
            </p:cNvSpPr>
            <p:nvPr userDrawn="1"/>
          </p:nvSpPr>
          <p:spPr bwMode="gray">
            <a:xfrm>
              <a:off x="5113112" y="4336890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6" name="Rectangle 21"/>
            <p:cNvSpPr>
              <a:spLocks noChangeArrowheads="1"/>
            </p:cNvSpPr>
            <p:nvPr userDrawn="1"/>
          </p:nvSpPr>
          <p:spPr bwMode="gray">
            <a:xfrm>
              <a:off x="7349540" y="3431471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 userDrawn="1"/>
          </p:nvSpPr>
          <p:spPr bwMode="gray">
            <a:xfrm>
              <a:off x="8250415" y="4034176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6992553"/>
      </p:ext>
    </p:extLst>
  </p:cSld>
  <p:clrMapOvr>
    <a:masterClrMapping/>
  </p:clrMapOvr>
  <p:transition>
    <p:wipe dir="r"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245827"/>
            <a:ext cx="11582400" cy="55810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58902925"/>
      </p:ext>
    </p:extLst>
  </p:cSld>
  <p:clrMapOvr>
    <a:masterClrMapping/>
  </p:clrMapOvr>
  <p:transition>
    <p:wipe dir="r"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4223342"/>
      </p:ext>
    </p:extLst>
  </p:cSld>
  <p:clrMapOvr>
    <a:masterClrMapping/>
  </p:clrMapOvr>
  <p:transition>
    <p:wipe dir="r"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245827"/>
            <a:ext cx="11582400" cy="55810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3129585"/>
      </p:ext>
    </p:extLst>
  </p:cSld>
  <p:clrMapOvr>
    <a:masterClrMapping/>
  </p:clrMapOvr>
  <p:transition>
    <p:wipe dir="r"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BC254-2E72-E448-B13F-1D1BE62728DD}" type="datetimeFigureOut">
              <a:rPr lang="en-US" smtClean="0"/>
              <a:t>8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004B6-42AC-0644-8DB2-48C0121D3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38986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only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vbm_gradient_rgb_300dpi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2129" y="6480543"/>
            <a:ext cx="714207" cy="23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34819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5581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1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304800" y="685802"/>
            <a:ext cx="11582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175822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8CD2A55C-F9EB-4741-B7C4-F888402D6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7200" y="1325880"/>
            <a:ext cx="5883031" cy="1211579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6401380-4493-4B46-86BA-820D0B9CDE1B}"/>
              </a:ext>
            </a:extLst>
          </p:cNvPr>
          <p:cNvSpPr>
            <a:spLocks noGrp="1"/>
          </p:cNvSpPr>
          <p:nvPr>
            <p:ph type="body" idx="10"/>
          </p:nvPr>
        </p:nvSpPr>
        <p:spPr bwMode="white">
          <a:xfrm>
            <a:off x="457200" y="2572445"/>
            <a:ext cx="5883031" cy="38779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44B7CDB3-27E9-4FDE-9173-18638AD6E06C}"/>
              </a:ext>
            </a:extLst>
          </p:cNvPr>
          <p:cNvSpPr>
            <a:spLocks noEditPoints="1"/>
          </p:cNvSpPr>
          <p:nvPr/>
        </p:nvSpPr>
        <p:spPr bwMode="white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2FED8D-BBC2-4BF7-B753-0EE1948123A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35" t="942" r="26514" b="63719"/>
          <a:stretch/>
        </p:blipFill>
        <p:spPr bwMode="white">
          <a:xfrm>
            <a:off x="4579620" y="-1"/>
            <a:ext cx="7612380" cy="6858001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/>
        </p:nvSpPr>
        <p:spPr bwMode="white">
          <a:xfrm>
            <a:off x="45503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1EBE22-9072-4C69-A7DE-EF807BDA9EFE}"/>
              </a:ext>
            </a:extLst>
          </p:cNvPr>
          <p:cNvSpPr/>
          <p:nvPr/>
        </p:nvSpPr>
        <p:spPr bwMode="white"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accent4">
                    <a:lumMod val="40000"/>
                    <a:lumOff val="60000"/>
                  </a:schemeClr>
                </a:solidFill>
              </a:rPr>
              <a:t>©2018 Visa. All rights reserved.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03815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hoto Title Slide OP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715000"/>
          </a:xfrm>
          <a:prstGeom prst="rect">
            <a:avLst/>
          </a:prstGeom>
        </p:spPr>
      </p:pic>
      <p:sp>
        <p:nvSpPr>
          <p:cNvPr id="14" name="Freeform 5">
            <a:extLst>
              <a:ext uri="{FF2B5EF4-FFF2-40B4-BE49-F238E27FC236}">
                <a16:creationId xmlns:a16="http://schemas.microsoft.com/office/drawing/2014/main" id="{4833F65B-69E4-4F58-93D9-A5562A8A08C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4269" y="6157765"/>
            <a:ext cx="843917" cy="272735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3BEB4A-5BEE-4305-88C4-5262AD42AE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3060" y="1638300"/>
            <a:ext cx="4703300" cy="98910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/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7E64970-9DAC-44E0-B484-C48A2ACE0C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060" y="2781299"/>
            <a:ext cx="6278277" cy="304801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1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2"/>
                </a:solidFill>
              </a:defRPr>
            </a:lvl2pPr>
            <a:lvl3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3pPr>
            <a:lvl4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  <a:lvl6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6pPr>
            <a:lvl7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7pPr>
            <a:lvl8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8pPr>
            <a:lvl9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A1853A0-2542-460F-90F9-56F47B52EF1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66344" y="3290500"/>
            <a:ext cx="6281928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0567633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8328274"/>
      </p:ext>
    </p:extLst>
  </p:cSld>
  <p:clrMapOvr>
    <a:masterClrMapping/>
  </p:clrMapOvr>
  <p:transition>
    <p:wipe dir="r"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7504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304800" y="4255825"/>
            <a:ext cx="57912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04800" y="4845733"/>
            <a:ext cx="579120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7832701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7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0546080" cy="5581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6795725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2803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21878672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2267713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7277164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092200"/>
            <a:ext cx="6096000" cy="52306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5486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05523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0778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8635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6096000" y="-1"/>
            <a:ext cx="6099048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00799" y="3080187"/>
            <a:ext cx="5486400" cy="697627"/>
          </a:xfrm>
        </p:spPr>
        <p:txBody>
          <a:bodyPr anchor="ctr"/>
          <a:lstStyle>
            <a:lvl1pPr algn="l">
              <a:spcBef>
                <a:spcPts val="0"/>
              </a:spcBef>
              <a:defRPr sz="53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black">
          <a:xfrm>
            <a:off x="11121974" y="6616703"/>
            <a:ext cx="883255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933">
                <a:solidFill>
                  <a:srgbClr val="FFF1CA"/>
                </a:solidFill>
              </a:rPr>
              <a:t>Visa Confidentia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6400799" y="6631134"/>
            <a:ext cx="2159440" cy="133307"/>
            <a:chOff x="228600" y="4973347"/>
            <a:chExt cx="1619580" cy="99980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gray">
            <a:xfrm>
              <a:off x="363398" y="4976425"/>
              <a:ext cx="1484782" cy="969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en-US" sz="933">
                  <a:solidFill>
                    <a:srgbClr val="FFF1CA"/>
                  </a:solidFill>
                </a:rPr>
                <a:t>|  Presentation Title  |  Month XX, Year</a:t>
              </a:r>
            </a:p>
          </p:txBody>
        </p:sp>
        <p:sp>
          <p:nvSpPr>
            <p:cNvPr id="12" name="TextBox 11"/>
            <p:cNvSpPr txBox="1"/>
            <p:nvPr/>
          </p:nvSpPr>
          <p:spPr bwMode="gray">
            <a:xfrm>
              <a:off x="228600" y="4973347"/>
              <a:ext cx="110607" cy="969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800">
                  <a:solidFill>
                    <a:srgbClr val="0065EA"/>
                  </a:solidFill>
                </a:defRPr>
              </a:lvl1pPr>
            </a:lstStyle>
            <a:p>
              <a:pPr lvl="0"/>
              <a:fld id="{8E9DF562-4D88-4A5A-AAF6-44DA0968931F}" type="slidenum">
                <a:rPr lang="en-US" sz="933" smtClean="0">
                  <a:solidFill>
                    <a:srgbClr val="FFF1CA"/>
                  </a:solidFill>
                </a:rPr>
                <a:pPr lvl="0"/>
                <a:t>‹#›</a:t>
              </a:fld>
              <a:endParaRPr lang="en-US" sz="933">
                <a:solidFill>
                  <a:srgbClr val="FFF1C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73144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957" t="1276" r="8303" b="-930"/>
          <a:stretch/>
        </p:blipFill>
        <p:spPr>
          <a:xfrm>
            <a:off x="8583688" y="0"/>
            <a:ext cx="3608312" cy="6858000"/>
          </a:xfrm>
          <a:prstGeom prst="rect">
            <a:avLst/>
          </a:prstGeom>
        </p:spPr>
      </p:pic>
      <p:sp>
        <p:nvSpPr>
          <p:cNvPr id="14" name="Freeform 5">
            <a:extLst>
              <a:ext uri="{FF2B5EF4-FFF2-40B4-BE49-F238E27FC236}">
                <a16:creationId xmlns:a16="http://schemas.microsoft.com/office/drawing/2014/main" id="{4833F65B-69E4-4F58-93D9-A5562A8A08C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7200" y="6156571"/>
            <a:ext cx="848821" cy="27432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ED58357-046C-4329-A368-4847C8F586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3060" y="1638300"/>
            <a:ext cx="7448350" cy="98910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/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BD312EC-430F-41EE-8355-A4D47C7F04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060" y="2781299"/>
            <a:ext cx="6278277" cy="304801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1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2"/>
                </a:solidFill>
              </a:defRPr>
            </a:lvl2pPr>
            <a:lvl3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3pPr>
            <a:lvl4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  <a:lvl6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6pPr>
            <a:lvl7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7pPr>
            <a:lvl8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8pPr>
            <a:lvl9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620DF2E-A4BF-4AE6-97EF-D409F71DFD8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66344" y="3290500"/>
            <a:ext cx="6281928" cy="276999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673959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ld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5772198" y="6616703"/>
            <a:ext cx="64761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Internal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FFF1CA"/>
                </a:solidFill>
              </a:rPr>
              <a:t>|  Presentation Title  |  Month XX, Year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>
                <a:solidFill>
                  <a:srgbClr val="FFF1CA"/>
                </a:solidFill>
              </a:rPr>
              <a:pPr lvl="0"/>
              <a:t>‹#›</a:t>
            </a:fld>
            <a:endParaRPr lang="en-US" sz="933">
              <a:solidFill>
                <a:srgbClr val="FFF1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12578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5772194" y="6616703"/>
            <a:ext cx="64761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Interna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28"/>
          <a:stretch/>
        </p:blipFill>
        <p:spPr bwMode="black">
          <a:xfrm>
            <a:off x="11087888" y="219883"/>
            <a:ext cx="956200" cy="3380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0065EA"/>
                </a:solidFill>
              </a:rPr>
              <a:t>|  Presentation Title  |  Month XX, Year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/>
              <a:pPr lvl="0"/>
              <a:t>‹#›</a:t>
            </a:fld>
            <a:endParaRPr lang="en-US" sz="933"/>
          </a:p>
        </p:txBody>
      </p:sp>
    </p:spTree>
    <p:extLst>
      <p:ext uri="{BB962C8B-B14F-4D97-AF65-F5344CB8AC3E}">
        <p14:creationId xmlns:p14="http://schemas.microsoft.com/office/powerpoint/2010/main" val="137123532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o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9800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5905207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867589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3020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7500" y="3245142"/>
            <a:ext cx="5080000" cy="558166"/>
          </a:xfrm>
        </p:spPr>
        <p:txBody>
          <a:bodyPr wrap="square" anchor="b">
            <a:spAutoFit/>
          </a:bodyPr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9693" y="4019551"/>
            <a:ext cx="50678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1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grpSp>
        <p:nvGrpSpPr>
          <p:cNvPr id="22" name="Group 21"/>
          <p:cNvGrpSpPr/>
          <p:nvPr userDrawn="1"/>
        </p:nvGrpSpPr>
        <p:grpSpPr bwMode="gray">
          <a:xfrm>
            <a:off x="6058675" y="1617483"/>
            <a:ext cx="6133325" cy="3020036"/>
            <a:chOff x="4544006" y="1617482"/>
            <a:chExt cx="4599994" cy="3020036"/>
          </a:xfrm>
        </p:grpSpPr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44006" y="3187828"/>
              <a:ext cx="1689414" cy="549060"/>
            </a:xfrm>
            <a:prstGeom prst="rect">
              <a:avLst/>
            </a:prstGeom>
          </p:spPr>
        </p:pic>
        <p:grpSp>
          <p:nvGrpSpPr>
            <p:cNvPr id="24" name="Group 23"/>
            <p:cNvGrpSpPr/>
            <p:nvPr userDrawn="1"/>
          </p:nvGrpSpPr>
          <p:grpSpPr bwMode="gray">
            <a:xfrm>
              <a:off x="6884010" y="2674775"/>
              <a:ext cx="2259987" cy="454637"/>
              <a:chOff x="9687151" y="3306297"/>
              <a:chExt cx="1711639" cy="454637"/>
            </a:xfrm>
          </p:grpSpPr>
          <p:sp>
            <p:nvSpPr>
              <p:cNvPr id="32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3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4" name="Rectangle 33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 bwMode="gray">
            <a:xfrm>
              <a:off x="5584850" y="1617482"/>
              <a:ext cx="2550327" cy="451865"/>
              <a:chOff x="7916736" y="-1399562"/>
              <a:chExt cx="2550327" cy="451865"/>
            </a:xfrm>
          </p:grpSpPr>
          <p:sp>
            <p:nvSpPr>
              <p:cNvPr id="2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 userDrawn="1"/>
          </p:nvSpPr>
          <p:spPr bwMode="gray">
            <a:xfrm>
              <a:off x="5113112" y="4336890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 userDrawn="1"/>
          </p:nvSpPr>
          <p:spPr bwMode="gray">
            <a:xfrm>
              <a:off x="7349540" y="3431471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8" name="Rectangle 21"/>
            <p:cNvSpPr>
              <a:spLocks noChangeArrowheads="1"/>
            </p:cNvSpPr>
            <p:nvPr userDrawn="1"/>
          </p:nvSpPr>
          <p:spPr bwMode="gray">
            <a:xfrm>
              <a:off x="8250415" y="4034176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40" name="Content Placeholder 4"/>
          <p:cNvSpPr>
            <a:spLocks noGrp="1"/>
          </p:cNvSpPr>
          <p:nvPr>
            <p:ph sz="quarter" idx="10" hasCustomPrompt="1"/>
          </p:nvPr>
        </p:nvSpPr>
        <p:spPr bwMode="gray">
          <a:xfrm>
            <a:off x="316992" y="4299879"/>
            <a:ext cx="5067808" cy="2492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9092288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59469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3" y="831875"/>
            <a:ext cx="8293100" cy="558166"/>
          </a:xfrm>
        </p:spPr>
        <p:txBody>
          <a:bodyPr anchor="b">
            <a:spAutoFit/>
          </a:bodyPr>
          <a:lstStyle>
            <a:lvl1pPr algn="r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409348" y="1572601"/>
            <a:ext cx="8290560" cy="249299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title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12" hasCustomPrompt="1"/>
          </p:nvPr>
        </p:nvSpPr>
        <p:spPr bwMode="gray">
          <a:xfrm>
            <a:off x="409348" y="1856175"/>
            <a:ext cx="8290560" cy="2492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3134463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5980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1817" y="5402589"/>
            <a:ext cx="8290560" cy="261611"/>
          </a:xfrm>
        </p:spPr>
        <p:txBody>
          <a:bodyPr anchor="b"/>
          <a:lstStyle>
            <a:lvl1pPr algn="l">
              <a:spcBef>
                <a:spcPts val="1200"/>
              </a:spcBef>
              <a:defRPr sz="20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401817" y="5803901"/>
            <a:ext cx="8290560" cy="193899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01817" y="6016691"/>
            <a:ext cx="8290560" cy="193899"/>
          </a:xfrm>
        </p:spPr>
        <p:txBody>
          <a:bodyPr/>
          <a:lstStyle>
            <a:lvl1pPr marL="0" indent="0" algn="l">
              <a:spcBef>
                <a:spcPts val="1200"/>
              </a:spcBef>
              <a:buNone/>
              <a:defRPr sz="14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328804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0042" y="3359061"/>
            <a:ext cx="7769860" cy="418576"/>
          </a:xfrm>
        </p:spPr>
        <p:txBody>
          <a:bodyPr anchor="ctr"/>
          <a:lstStyle>
            <a:lvl1pPr algn="l">
              <a:spcBef>
                <a:spcPts val="12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1821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gradFill flip="none" rotWithShape="1">
          <a:gsLst>
            <a:gs pos="0">
              <a:schemeClr val="accent1"/>
            </a:gs>
            <a:gs pos="10000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7AD87EC-48C2-45BC-AE63-9426C73F0F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59" r="495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9" name="Freeform 8">
            <a:extLst>
              <a:ext uri="{FF2B5EF4-FFF2-40B4-BE49-F238E27FC236}">
                <a16:creationId xmlns:a16="http://schemas.microsoft.com/office/drawing/2014/main" id="{146CAFE5-C785-4CF6-B4FE-3D9C2482761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7200" y="6156571"/>
            <a:ext cx="853220" cy="274320"/>
          </a:xfrm>
          <a:custGeom>
            <a:avLst/>
            <a:gdLst>
              <a:gd name="T0" fmla="*/ 824 w 2169"/>
              <a:gd name="T1" fmla="*/ 12 h 696"/>
              <a:gd name="T2" fmla="*/ 540 w 2169"/>
              <a:gd name="T3" fmla="*/ 686 h 696"/>
              <a:gd name="T4" fmla="*/ 355 w 2169"/>
              <a:gd name="T5" fmla="*/ 686 h 696"/>
              <a:gd name="T6" fmla="*/ 215 w 2169"/>
              <a:gd name="T7" fmla="*/ 148 h 696"/>
              <a:gd name="T8" fmla="*/ 173 w 2169"/>
              <a:gd name="T9" fmla="*/ 89 h 696"/>
              <a:gd name="T10" fmla="*/ 0 w 2169"/>
              <a:gd name="T11" fmla="*/ 32 h 696"/>
              <a:gd name="T12" fmla="*/ 5 w 2169"/>
              <a:gd name="T13" fmla="*/ 12 h 696"/>
              <a:gd name="T14" fmla="*/ 303 w 2169"/>
              <a:gd name="T15" fmla="*/ 12 h 696"/>
              <a:gd name="T16" fmla="*/ 384 w 2169"/>
              <a:gd name="T17" fmla="*/ 81 h 696"/>
              <a:gd name="T18" fmla="*/ 457 w 2169"/>
              <a:gd name="T19" fmla="*/ 470 h 696"/>
              <a:gd name="T20" fmla="*/ 640 w 2169"/>
              <a:gd name="T21" fmla="*/ 12 h 696"/>
              <a:gd name="T22" fmla="*/ 824 w 2169"/>
              <a:gd name="T23" fmla="*/ 12 h 696"/>
              <a:gd name="T24" fmla="*/ 1549 w 2169"/>
              <a:gd name="T25" fmla="*/ 466 h 696"/>
              <a:gd name="T26" fmla="*/ 1304 w 2169"/>
              <a:gd name="T27" fmla="*/ 199 h 696"/>
              <a:gd name="T28" fmla="*/ 1378 w 2169"/>
              <a:gd name="T29" fmla="*/ 142 h 696"/>
              <a:gd name="T30" fmla="*/ 1551 w 2169"/>
              <a:gd name="T31" fmla="*/ 172 h 696"/>
              <a:gd name="T32" fmla="*/ 1582 w 2169"/>
              <a:gd name="T33" fmla="*/ 29 h 696"/>
              <a:gd name="T34" fmla="*/ 1418 w 2169"/>
              <a:gd name="T35" fmla="*/ 0 h 696"/>
              <a:gd name="T36" fmla="*/ 1122 w 2169"/>
              <a:gd name="T37" fmla="*/ 222 h 696"/>
              <a:gd name="T38" fmla="*/ 1275 w 2169"/>
              <a:gd name="T39" fmla="*/ 406 h 696"/>
              <a:gd name="T40" fmla="*/ 1366 w 2169"/>
              <a:gd name="T41" fmla="*/ 489 h 696"/>
              <a:gd name="T42" fmla="*/ 1261 w 2169"/>
              <a:gd name="T43" fmla="*/ 555 h 696"/>
              <a:gd name="T44" fmla="*/ 1081 w 2169"/>
              <a:gd name="T45" fmla="*/ 513 h 696"/>
              <a:gd name="T46" fmla="*/ 1049 w 2169"/>
              <a:gd name="T47" fmla="*/ 660 h 696"/>
              <a:gd name="T48" fmla="*/ 1244 w 2169"/>
              <a:gd name="T49" fmla="*/ 696 h 696"/>
              <a:gd name="T50" fmla="*/ 1549 w 2169"/>
              <a:gd name="T51" fmla="*/ 466 h 696"/>
              <a:gd name="T52" fmla="*/ 2007 w 2169"/>
              <a:gd name="T53" fmla="*/ 686 h 696"/>
              <a:gd name="T54" fmla="*/ 2169 w 2169"/>
              <a:gd name="T55" fmla="*/ 686 h 696"/>
              <a:gd name="T56" fmla="*/ 2027 w 2169"/>
              <a:gd name="T57" fmla="*/ 12 h 696"/>
              <a:gd name="T58" fmla="*/ 1878 w 2169"/>
              <a:gd name="T59" fmla="*/ 12 h 696"/>
              <a:gd name="T60" fmla="*/ 1803 w 2169"/>
              <a:gd name="T61" fmla="*/ 61 h 696"/>
              <a:gd name="T62" fmla="*/ 1540 w 2169"/>
              <a:gd name="T63" fmla="*/ 686 h 696"/>
              <a:gd name="T64" fmla="*/ 1724 w 2169"/>
              <a:gd name="T65" fmla="*/ 686 h 696"/>
              <a:gd name="T66" fmla="*/ 1761 w 2169"/>
              <a:gd name="T67" fmla="*/ 585 h 696"/>
              <a:gd name="T68" fmla="*/ 1985 w 2169"/>
              <a:gd name="T69" fmla="*/ 585 h 696"/>
              <a:gd name="T70" fmla="*/ 2007 w 2169"/>
              <a:gd name="T71" fmla="*/ 686 h 696"/>
              <a:gd name="T72" fmla="*/ 1811 w 2169"/>
              <a:gd name="T73" fmla="*/ 447 h 696"/>
              <a:gd name="T74" fmla="*/ 1903 w 2169"/>
              <a:gd name="T75" fmla="*/ 194 h 696"/>
              <a:gd name="T76" fmla="*/ 1956 w 2169"/>
              <a:gd name="T77" fmla="*/ 447 h 696"/>
              <a:gd name="T78" fmla="*/ 1811 w 2169"/>
              <a:gd name="T79" fmla="*/ 447 h 696"/>
              <a:gd name="T80" fmla="*/ 1074 w 2169"/>
              <a:gd name="T81" fmla="*/ 12 h 696"/>
              <a:gd name="T82" fmla="*/ 929 w 2169"/>
              <a:gd name="T83" fmla="*/ 686 h 696"/>
              <a:gd name="T84" fmla="*/ 754 w 2169"/>
              <a:gd name="T85" fmla="*/ 686 h 696"/>
              <a:gd name="T86" fmla="*/ 899 w 2169"/>
              <a:gd name="T87" fmla="*/ 12 h 696"/>
              <a:gd name="T88" fmla="*/ 1074 w 2169"/>
              <a:gd name="T89" fmla="*/ 12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169" h="696">
                <a:moveTo>
                  <a:pt x="824" y="12"/>
                </a:moveTo>
                <a:cubicBezTo>
                  <a:pt x="540" y="686"/>
                  <a:pt x="540" y="686"/>
                  <a:pt x="540" y="686"/>
                </a:cubicBezTo>
                <a:cubicBezTo>
                  <a:pt x="355" y="686"/>
                  <a:pt x="355" y="686"/>
                  <a:pt x="355" y="686"/>
                </a:cubicBezTo>
                <a:cubicBezTo>
                  <a:pt x="215" y="148"/>
                  <a:pt x="215" y="148"/>
                  <a:pt x="215" y="148"/>
                </a:cubicBezTo>
                <a:cubicBezTo>
                  <a:pt x="206" y="115"/>
                  <a:pt x="199" y="103"/>
                  <a:pt x="173" y="89"/>
                </a:cubicBezTo>
                <a:cubicBezTo>
                  <a:pt x="131" y="66"/>
                  <a:pt x="62" y="45"/>
                  <a:pt x="0" y="32"/>
                </a:cubicBezTo>
                <a:cubicBezTo>
                  <a:pt x="5" y="12"/>
                  <a:pt x="5" y="12"/>
                  <a:pt x="5" y="12"/>
                </a:cubicBezTo>
                <a:cubicBezTo>
                  <a:pt x="303" y="12"/>
                  <a:pt x="303" y="12"/>
                  <a:pt x="303" y="12"/>
                </a:cubicBezTo>
                <a:cubicBezTo>
                  <a:pt x="341" y="12"/>
                  <a:pt x="375" y="37"/>
                  <a:pt x="384" y="81"/>
                </a:cubicBezTo>
                <a:cubicBezTo>
                  <a:pt x="457" y="470"/>
                  <a:pt x="457" y="470"/>
                  <a:pt x="457" y="470"/>
                </a:cubicBezTo>
                <a:cubicBezTo>
                  <a:pt x="640" y="12"/>
                  <a:pt x="640" y="12"/>
                  <a:pt x="640" y="12"/>
                </a:cubicBezTo>
                <a:lnTo>
                  <a:pt x="824" y="12"/>
                </a:lnTo>
                <a:close/>
                <a:moveTo>
                  <a:pt x="1549" y="466"/>
                </a:moveTo>
                <a:cubicBezTo>
                  <a:pt x="1550" y="288"/>
                  <a:pt x="1302" y="278"/>
                  <a:pt x="1304" y="199"/>
                </a:cubicBezTo>
                <a:cubicBezTo>
                  <a:pt x="1304" y="174"/>
                  <a:pt x="1327" y="149"/>
                  <a:pt x="1378" y="142"/>
                </a:cubicBezTo>
                <a:cubicBezTo>
                  <a:pt x="1403" y="139"/>
                  <a:pt x="1472" y="136"/>
                  <a:pt x="1551" y="172"/>
                </a:cubicBezTo>
                <a:cubicBezTo>
                  <a:pt x="1582" y="29"/>
                  <a:pt x="1582" y="29"/>
                  <a:pt x="1582" y="29"/>
                </a:cubicBezTo>
                <a:cubicBezTo>
                  <a:pt x="1539" y="14"/>
                  <a:pt x="1485" y="0"/>
                  <a:pt x="1418" y="0"/>
                </a:cubicBezTo>
                <a:cubicBezTo>
                  <a:pt x="1245" y="0"/>
                  <a:pt x="1123" y="91"/>
                  <a:pt x="1122" y="222"/>
                </a:cubicBezTo>
                <a:cubicBezTo>
                  <a:pt x="1121" y="319"/>
                  <a:pt x="1209" y="373"/>
                  <a:pt x="1275" y="406"/>
                </a:cubicBezTo>
                <a:cubicBezTo>
                  <a:pt x="1343" y="439"/>
                  <a:pt x="1366" y="460"/>
                  <a:pt x="1366" y="489"/>
                </a:cubicBezTo>
                <a:cubicBezTo>
                  <a:pt x="1365" y="535"/>
                  <a:pt x="1311" y="555"/>
                  <a:pt x="1261" y="555"/>
                </a:cubicBezTo>
                <a:cubicBezTo>
                  <a:pt x="1173" y="557"/>
                  <a:pt x="1122" y="532"/>
                  <a:pt x="1081" y="513"/>
                </a:cubicBezTo>
                <a:cubicBezTo>
                  <a:pt x="1049" y="660"/>
                  <a:pt x="1049" y="660"/>
                  <a:pt x="1049" y="660"/>
                </a:cubicBezTo>
                <a:cubicBezTo>
                  <a:pt x="1090" y="679"/>
                  <a:pt x="1166" y="695"/>
                  <a:pt x="1244" y="696"/>
                </a:cubicBezTo>
                <a:cubicBezTo>
                  <a:pt x="1428" y="696"/>
                  <a:pt x="1549" y="606"/>
                  <a:pt x="1549" y="466"/>
                </a:cubicBezTo>
                <a:moveTo>
                  <a:pt x="2007" y="686"/>
                </a:moveTo>
                <a:cubicBezTo>
                  <a:pt x="2169" y="686"/>
                  <a:pt x="2169" y="686"/>
                  <a:pt x="2169" y="686"/>
                </a:cubicBezTo>
                <a:cubicBezTo>
                  <a:pt x="2027" y="12"/>
                  <a:pt x="2027" y="12"/>
                  <a:pt x="2027" y="12"/>
                </a:cubicBezTo>
                <a:cubicBezTo>
                  <a:pt x="1878" y="12"/>
                  <a:pt x="1878" y="12"/>
                  <a:pt x="1878" y="12"/>
                </a:cubicBezTo>
                <a:cubicBezTo>
                  <a:pt x="1844" y="12"/>
                  <a:pt x="1816" y="31"/>
                  <a:pt x="1803" y="61"/>
                </a:cubicBezTo>
                <a:cubicBezTo>
                  <a:pt x="1540" y="686"/>
                  <a:pt x="1540" y="686"/>
                  <a:pt x="1540" y="686"/>
                </a:cubicBezTo>
                <a:cubicBezTo>
                  <a:pt x="1724" y="686"/>
                  <a:pt x="1724" y="686"/>
                  <a:pt x="1724" y="686"/>
                </a:cubicBezTo>
                <a:cubicBezTo>
                  <a:pt x="1761" y="585"/>
                  <a:pt x="1761" y="585"/>
                  <a:pt x="1761" y="585"/>
                </a:cubicBezTo>
                <a:cubicBezTo>
                  <a:pt x="1985" y="585"/>
                  <a:pt x="1985" y="585"/>
                  <a:pt x="1985" y="585"/>
                </a:cubicBezTo>
                <a:lnTo>
                  <a:pt x="2007" y="686"/>
                </a:lnTo>
                <a:close/>
                <a:moveTo>
                  <a:pt x="1811" y="447"/>
                </a:moveTo>
                <a:cubicBezTo>
                  <a:pt x="1903" y="194"/>
                  <a:pt x="1903" y="194"/>
                  <a:pt x="1903" y="194"/>
                </a:cubicBezTo>
                <a:cubicBezTo>
                  <a:pt x="1956" y="447"/>
                  <a:pt x="1956" y="447"/>
                  <a:pt x="1956" y="447"/>
                </a:cubicBezTo>
                <a:lnTo>
                  <a:pt x="1811" y="447"/>
                </a:lnTo>
                <a:close/>
                <a:moveTo>
                  <a:pt x="1074" y="12"/>
                </a:moveTo>
                <a:cubicBezTo>
                  <a:pt x="929" y="686"/>
                  <a:pt x="929" y="686"/>
                  <a:pt x="929" y="686"/>
                </a:cubicBezTo>
                <a:cubicBezTo>
                  <a:pt x="754" y="686"/>
                  <a:pt x="754" y="686"/>
                  <a:pt x="754" y="686"/>
                </a:cubicBezTo>
                <a:cubicBezTo>
                  <a:pt x="899" y="12"/>
                  <a:pt x="899" y="12"/>
                  <a:pt x="899" y="12"/>
                </a:cubicBezTo>
                <a:lnTo>
                  <a:pt x="1074" y="1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7C8B59D-4D69-45B3-AC2B-B1095E8890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060" y="2781299"/>
            <a:ext cx="6278277" cy="304801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1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800" b="0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2"/>
                </a:solidFill>
              </a:defRPr>
            </a:lvl2pPr>
            <a:lvl3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3pPr>
            <a:lvl4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  <a:lvl6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6pPr>
            <a:lvl7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7pPr>
            <a:lvl8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8pPr>
            <a:lvl9pPr marL="0" inden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01F67E-8C36-4627-BB7D-06B0E2DF36A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66344" y="3290500"/>
            <a:ext cx="6281928" cy="307777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05B76F-2D8E-40EF-B632-D8A177F9E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796729"/>
            <a:ext cx="6297448" cy="7620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5523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7966936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9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5801"/>
            <a:ext cx="11582400" cy="249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223327434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 bwMode="gray">
          <a:xfrm>
            <a:off x="316992" y="1188721"/>
            <a:ext cx="11582400" cy="134703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1201827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16992" y="1527049"/>
            <a:ext cx="11582400" cy="1347035"/>
          </a:xfrm>
        </p:spPr>
        <p:txBody>
          <a:bodyPr/>
          <a:lstStyle>
            <a:lvl1pPr>
              <a:defRPr/>
            </a:lvl1pPr>
            <a:lvl3pPr>
              <a:defRPr/>
            </a:lvl3pPr>
          </a:lstStyle>
          <a:p>
            <a:pPr lvl="0"/>
            <a:r>
              <a:rPr lang="en-US"/>
              <a:t>Click to edit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992" y="1042418"/>
            <a:ext cx="11582400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3958698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61308" y="243841"/>
            <a:ext cx="7977632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black">
          <a:xfrm>
            <a:off x="4048554" y="6616704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>
                <a:solidFill>
                  <a:srgbClr val="5C5C5C"/>
                </a:solidFill>
              </a:rPr>
              <a:t>|  Presentation Title  |  Month XX, Yea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844088" y="663465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</a:rPr>
              <a:pPr/>
              <a:t>‹#›</a:t>
            </a:fld>
            <a:endParaRPr lang="en-US" sz="700">
              <a:solidFill>
                <a:srgbClr val="5C5C5C"/>
              </a:solidFill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873500" y="1527049"/>
            <a:ext cx="797356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gray">
          <a:xfrm>
            <a:off x="9550400" y="6616704"/>
            <a:ext cx="12192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874008" y="1042418"/>
            <a:ext cx="7973568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8944" y="6521980"/>
            <a:ext cx="902208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08041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16992" y="1527049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374892" y="1527049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16992" y="1042418"/>
            <a:ext cx="5474208" cy="8863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 bwMode="gray">
          <a:xfrm>
            <a:off x="6374892" y="1042418"/>
            <a:ext cx="5474208" cy="8863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54013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316992" y="1188721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336792" y="1188721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483807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6273800" y="3222760"/>
            <a:ext cx="5702299" cy="418576"/>
          </a:xfrm>
        </p:spPr>
        <p:txBody>
          <a:bodyPr anchor="ctr"/>
          <a:lstStyle>
            <a:lvl1pPr algn="l">
              <a:spcBef>
                <a:spcPts val="10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6447573" y="6616704"/>
            <a:ext cx="334843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>
                <a:solidFill>
                  <a:schemeClr val="bg2"/>
                </a:solidFill>
                <a:latin typeface="+mn-lt"/>
              </a:rPr>
              <a:t> Year</a:t>
            </a:r>
            <a:endParaRPr lang="en-US" sz="7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5823494" y="6616704"/>
            <a:ext cx="532191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r"/>
              <a:t>‹#›</a:t>
            </a:fld>
            <a:endParaRPr lang="en-US" sz="7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gray">
          <a:xfrm>
            <a:off x="9550400" y="6616704"/>
            <a:ext cx="12192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8944" y="6521980"/>
            <a:ext cx="902208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60543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6992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109602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6992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5659169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8CD2A55C-F9EB-4741-B7C4-F888402D6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25880"/>
            <a:ext cx="5883031" cy="1211579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CB56EBB-C98C-40B9-9751-625BF7F9E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594360"/>
            <a:ext cx="5883031" cy="332399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6401380-4493-4B46-86BA-820D0B9CDE1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57200" y="2572445"/>
            <a:ext cx="5883031" cy="38779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44B7CDB3-27E9-4FDE-9173-18638AD6E0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2FED8D-BBC2-4BF7-B753-0EE1948123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35" t="942" r="26514" b="63719"/>
          <a:stretch/>
        </p:blipFill>
        <p:spPr>
          <a:xfrm>
            <a:off x="4579620" y="-1"/>
            <a:ext cx="761238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55057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18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6992" y="212140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14449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18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6992" y="212140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10295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accent2"/>
                </a:solidFill>
                <a:latin typeface="+mn-lt"/>
              </a:rPr>
              <a:t>Visa Confidentia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316992" y="3124302"/>
            <a:ext cx="11582400" cy="609399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47800" y="6616704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2"/>
                </a:solidFill>
                <a:latin typeface="+mn-lt"/>
              </a:rPr>
              <a:pPr algn="l"/>
              <a:t>‹#›</a:t>
            </a:fld>
            <a:endParaRPr lang="en-US" sz="70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8"/>
          <a:stretch/>
        </p:blipFill>
        <p:spPr>
          <a:xfrm>
            <a:off x="11067992" y="250522"/>
            <a:ext cx="974283" cy="23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4171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7994" y="250521"/>
            <a:ext cx="975361" cy="237744"/>
          </a:xfrm>
          <a:prstGeom prst="rect">
            <a:avLst/>
          </a:prstGeom>
        </p:spPr>
      </p:pic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Visa Confidentia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316992" y="3124302"/>
            <a:ext cx="11606784" cy="609399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552265" y="6616704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|  Presentation Title  |  Month XX,</a:t>
            </a:r>
            <a:r>
              <a:rPr lang="en-US" sz="700" baseline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 Year</a:t>
            </a:r>
            <a:endParaRPr lang="en-US" sz="70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347800" y="6616704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pPr algn="l"/>
              <a:t>‹#›</a:t>
            </a:fld>
            <a:endParaRPr lang="en-US" sz="70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652163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321589" y="3438145"/>
            <a:ext cx="5065011" cy="366255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10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8675" y="3187829"/>
            <a:ext cx="2252552" cy="549060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>
          <a:xfrm>
            <a:off x="9178682" y="2674776"/>
            <a:ext cx="3013316" cy="454637"/>
            <a:chOff x="9687151" y="3306297"/>
            <a:chExt cx="1711639" cy="454637"/>
          </a:xfrm>
        </p:grpSpPr>
        <p:sp>
          <p:nvSpPr>
            <p:cNvPr id="20" name="Rectangle 21"/>
            <p:cNvSpPr>
              <a:spLocks noChangeArrowheads="1"/>
            </p:cNvSpPr>
            <p:nvPr/>
          </p:nvSpPr>
          <p:spPr bwMode="gray">
            <a:xfrm>
              <a:off x="10325876" y="3462208"/>
              <a:ext cx="1072914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gray">
            <a:xfrm>
              <a:off x="9687151" y="3306297"/>
              <a:ext cx="1034868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gray">
            <a:xfrm>
              <a:off x="10325876" y="3459434"/>
              <a:ext cx="396143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7446469" y="1617484"/>
            <a:ext cx="3400436" cy="451865"/>
            <a:chOff x="7916736" y="-1399562"/>
            <a:chExt cx="2550327" cy="451865"/>
          </a:xfrm>
        </p:grpSpPr>
        <p:sp>
          <p:nvSpPr>
            <p:cNvPr id="25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905000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gray">
            <a:xfrm>
              <a:off x="7916736" y="-1399562"/>
              <a:ext cx="1764690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119363" cy="147489"/>
            </a:xfrm>
            <a:prstGeom prst="rect">
              <a:avLst/>
            </a:prstGeom>
            <a:gradFill flip="none" rotWithShape="1">
              <a:gsLst>
                <a:gs pos="0">
                  <a:srgbClr val="FFCB00"/>
                </a:gs>
                <a:gs pos="100000">
                  <a:srgbClr val="FBE1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28" name="Rectangle 21"/>
          <p:cNvSpPr>
            <a:spLocks noChangeArrowheads="1"/>
          </p:cNvSpPr>
          <p:nvPr userDrawn="1"/>
        </p:nvSpPr>
        <p:spPr bwMode="gray">
          <a:xfrm>
            <a:off x="6817483" y="4336891"/>
            <a:ext cx="2361197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1"/>
          <p:cNvSpPr>
            <a:spLocks noChangeArrowheads="1"/>
          </p:cNvSpPr>
          <p:nvPr userDrawn="1"/>
        </p:nvSpPr>
        <p:spPr bwMode="gray">
          <a:xfrm>
            <a:off x="9799387" y="3431471"/>
            <a:ext cx="1967445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gray">
          <a:xfrm>
            <a:off x="11000555" y="4034177"/>
            <a:ext cx="1191447" cy="300628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8194637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4" y="263526"/>
            <a:ext cx="11516784" cy="558166"/>
          </a:xfrm>
        </p:spPr>
        <p:txBody>
          <a:bodyPr/>
          <a:lstStyle>
            <a:lvl1pPr>
              <a:defRPr>
                <a:solidFill>
                  <a:srgbClr val="1A1F7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Visa Europe Secret</a:t>
            </a: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FAE64A-D17C-4CD5-9128-A40528F2E9B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368304" y="906463"/>
            <a:ext cx="11516784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688788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7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79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93" y="390526"/>
            <a:ext cx="10013420" cy="558166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1593" y="1597156"/>
            <a:ext cx="11240516" cy="1042337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60352" indent="-233351">
              <a:defRPr sz="2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628619" indent="-168266">
              <a:defRPr sz="20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69816286"/>
      </p:ext>
    </p:extLst>
  </p:cSld>
  <p:clrMapOvr>
    <a:masterClrMapping/>
  </p:clrMapOvr>
  <p:transition>
    <p:wipe dir="r"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27702741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7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699885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853305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5BA3E-4B48-4638-9AFB-01BC825F5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325880"/>
            <a:ext cx="5879592" cy="1216152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86C833-AB80-43C8-963F-1833F807F4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594360"/>
            <a:ext cx="5730629" cy="332399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985A8A5-B175-4063-BABC-65B691965E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57199" y="2578608"/>
            <a:ext cx="5879592" cy="38404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B4E76A25-6937-41EF-BF03-EEB326E211A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15FED2-94E1-4392-8872-C730B767C6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00850" y="0"/>
            <a:ext cx="5391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28977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brow 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493223"/>
            <a:ext cx="11582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923481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04801" y="213774"/>
            <a:ext cx="3093027" cy="166199"/>
          </a:xfrm>
        </p:spPr>
        <p:txBody>
          <a:bodyPr anchor="b"/>
          <a:lstStyle>
            <a:lvl1pPr marL="0" indent="0">
              <a:buNone/>
              <a:defRPr sz="1200" cap="all" baseline="0">
                <a:solidFill>
                  <a:schemeClr val="tx2"/>
                </a:solidFill>
              </a:defRPr>
            </a:lvl1pPr>
            <a:lvl2pPr marL="306900" indent="0">
              <a:buNone/>
              <a:defRPr sz="1100"/>
            </a:lvl2pPr>
            <a:lvl3pPr marL="644959" indent="0">
              <a:buNone/>
              <a:defRPr sz="1100"/>
            </a:lvl3pPr>
            <a:lvl4pPr marL="916472" indent="0">
              <a:buNone/>
              <a:defRPr sz="1100"/>
            </a:lvl4pPr>
            <a:lvl5pPr marL="1230144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212528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1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414272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238800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2"/>
            <a:ext cx="11582400" cy="55816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1414272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704090"/>
            <a:ext cx="11582400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39079381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188720"/>
            <a:ext cx="6096000" cy="2214068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6096000" cy="558166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684703" y="2109086"/>
            <a:ext cx="5514613" cy="2664039"/>
            <a:chOff x="5013526" y="1318509"/>
            <a:chExt cx="4135960" cy="2664039"/>
          </a:xfrm>
        </p:grpSpPr>
        <p:sp>
          <p:nvSpPr>
            <p:cNvPr id="13" name="Rectangle 21"/>
            <p:cNvSpPr>
              <a:spLocks noChangeArrowheads="1"/>
            </p:cNvSpPr>
            <p:nvPr/>
          </p:nvSpPr>
          <p:spPr bwMode="gray">
            <a:xfrm>
              <a:off x="5013526" y="2432533"/>
              <a:ext cx="150040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gray">
            <a:xfrm>
              <a:off x="6172200" y="1318509"/>
              <a:ext cx="2547518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7871155" y="1546283"/>
              <a:ext cx="127833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7871155" y="1546284"/>
              <a:ext cx="848563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gray">
            <a:xfrm>
              <a:off x="5920002" y="3540418"/>
              <a:ext cx="195359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6882385" y="3319352"/>
              <a:ext cx="183733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6882385" y="3547127"/>
              <a:ext cx="991209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0333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11582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00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81049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1188722"/>
            <a:ext cx="6096000" cy="5138365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3059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 and Two Right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3072384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201163" indent="-201163">
              <a:buNone/>
              <a:defRPr lang="en-US" sz="1600"/>
            </a:lvl1pPr>
          </a:lstStyle>
          <a:p>
            <a:pPr marL="0" lvl="0" indent="0"/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5480304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3254701"/>
            <a:ext cx="6096000" cy="3072384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201163" indent="-201163">
              <a:buNone/>
              <a:defRPr lang="en-US" sz="1600"/>
            </a:lvl1pPr>
          </a:lstStyle>
          <a:p>
            <a:pPr marL="0" lvl="0" indent="0"/>
            <a:r>
              <a:rPr lang="en-US"/>
              <a:t>Click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8716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23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Large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2"/>
            <a:ext cx="6096000" cy="6327084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5480304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0" y="1188720"/>
            <a:ext cx="5486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6380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4">
          <p15:clr>
            <a:srgbClr val="FBAE40"/>
          </p15:clr>
        </p15:guide>
        <p15:guide id="2" pos="5616">
          <p15:clr>
            <a:srgbClr val="FBAE40"/>
          </p15:clr>
        </p15:guide>
        <p15:guide id="3" orient="horz" pos="3936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ullets and Narrow Left Phot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346440" y="243841"/>
            <a:ext cx="8534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2"/>
            <a:ext cx="3047999" cy="6327085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46440" y="1527048"/>
            <a:ext cx="8534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8" hasCustomPrompt="1"/>
          </p:nvPr>
        </p:nvSpPr>
        <p:spPr>
          <a:xfrm>
            <a:off x="3352800" y="1042418"/>
            <a:ext cx="8534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60505774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ullets and Large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6096000" cy="6327085"/>
          </a:xfr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400800" y="243841"/>
            <a:ext cx="5486400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00800" y="1527048"/>
            <a:ext cx="5486400" cy="221406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8" hasCustomPrompt="1"/>
          </p:nvPr>
        </p:nvSpPr>
        <p:spPr>
          <a:xfrm>
            <a:off x="6400800" y="1042418"/>
            <a:ext cx="5486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740125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62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5BA3E-4B48-4638-9AFB-01BC825F5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25880"/>
            <a:ext cx="5879592" cy="1216152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86C833-AB80-43C8-963F-1833F807F4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594360"/>
            <a:ext cx="5616330" cy="332399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985A8A5-B175-4063-BABC-65B691965E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57200" y="2578608"/>
            <a:ext cx="5879592" cy="38404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781E4BAD-30AB-4054-BBE1-F491A48FB73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BE03792-345A-43ED-9F29-50BA0F7869F7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081" t="52964" r="6630"/>
          <a:stretch/>
        </p:blipFill>
        <p:spPr>
          <a:xfrm>
            <a:off x="6362700" y="0"/>
            <a:ext cx="5829300" cy="598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50020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"/>
            <a:ext cx="6096000" cy="6327085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6400800" y="3222760"/>
            <a:ext cx="5486400" cy="418576"/>
          </a:xfrm>
        </p:spPr>
        <p:txBody>
          <a:bodyPr anchor="ctr"/>
          <a:lstStyle>
            <a:lvl1pPr algn="l">
              <a:spcBef>
                <a:spcPts val="10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828137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4800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70954146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9635" y="180107"/>
            <a:ext cx="11588867" cy="387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89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2pPr>
            <a:lvl3pPr marL="914377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3pPr>
            <a:lvl4pPr marL="1371566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4pPr>
            <a:lvl5pPr marL="1828754" indent="0">
              <a:buNone/>
              <a:defRPr sz="3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Process 1"/>
          <p:cNvSpPr/>
          <p:nvPr userDrawn="1"/>
        </p:nvSpPr>
        <p:spPr>
          <a:xfrm>
            <a:off x="0" y="180107"/>
            <a:ext cx="339635" cy="812671"/>
          </a:xfrm>
          <a:prstGeom prst="flowChart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ubtitle 2"/>
          <p:cNvSpPr txBox="1">
            <a:spLocks/>
          </p:cNvSpPr>
          <p:nvPr userDrawn="1"/>
        </p:nvSpPr>
        <p:spPr>
          <a:xfrm>
            <a:off x="236134" y="6561280"/>
            <a:ext cx="4899631" cy="2308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ED6633-62A5-BF48-8796-52C7CA6AEBF3}" type="slidenum">
              <a:rPr lang="en-US" sz="1000" b="0" i="0" noProof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‹#›</a:t>
            </a:fld>
            <a:r>
              <a:rPr lang="en-US" sz="1000" b="0" i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  |   Financial Institution and</a:t>
            </a:r>
            <a:r>
              <a:rPr lang="en-US" sz="1000" b="0" i="0" baseline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1000" b="0" i="0" noProof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Visa Partnership   |   Visa 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045" y="6563932"/>
            <a:ext cx="509699" cy="24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91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1" hasCustomPrompt="1"/>
          </p:nvPr>
        </p:nvSpPr>
        <p:spPr bwMode="gray">
          <a:xfrm>
            <a:off x="310799" y="557786"/>
            <a:ext cx="5564584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16994" y="932688"/>
            <a:ext cx="5558391" cy="265726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6328617" y="932688"/>
            <a:ext cx="5558391" cy="265726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6328615" y="557786"/>
            <a:ext cx="5564584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2217274212"/>
      </p:ext>
    </p:extLst>
  </p:cSld>
  <p:clrMapOvr>
    <a:masterClrMapping/>
  </p:clrMapOvr>
  <p:transition>
    <p:wipe dir="r"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4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 bwMode="gray">
          <a:xfrm>
            <a:off x="322093" y="1188720"/>
            <a:ext cx="11582400" cy="134703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16992" y="243841"/>
            <a:ext cx="11582400" cy="55816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992" y="680818"/>
            <a:ext cx="11582400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595156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1588" y="245827"/>
            <a:ext cx="11582400" cy="558101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84843205"/>
      </p:ext>
    </p:extLst>
  </p:cSld>
  <p:clrMapOvr>
    <a:masterClrMapping/>
  </p:clrMapOvr>
  <p:transition>
    <p:wipe dir="r"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4800" y="3343933"/>
            <a:ext cx="5486400" cy="558166"/>
          </a:xfrm>
        </p:spPr>
        <p:txBody>
          <a:bodyPr anchor="b">
            <a:spAutoFit/>
          </a:bodyPr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22" name="Group 21"/>
          <p:cNvGrpSpPr/>
          <p:nvPr userDrawn="1"/>
        </p:nvGrpSpPr>
        <p:grpSpPr bwMode="gray">
          <a:xfrm>
            <a:off x="6535979" y="1346421"/>
            <a:ext cx="5666621" cy="928659"/>
            <a:chOff x="8900258" y="2764711"/>
            <a:chExt cx="2063436" cy="454637"/>
          </a:xfrm>
        </p:grpSpPr>
        <p:sp>
          <p:nvSpPr>
            <p:cNvPr id="23" name="Rectangle 21"/>
            <p:cNvSpPr>
              <a:spLocks noChangeArrowheads="1"/>
            </p:cNvSpPr>
            <p:nvPr/>
          </p:nvSpPr>
          <p:spPr bwMode="gray">
            <a:xfrm>
              <a:off x="9925902" y="2920622"/>
              <a:ext cx="1037792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8900258" y="2764711"/>
              <a:ext cx="1814113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gray">
            <a:xfrm>
              <a:off x="9925902" y="2917848"/>
              <a:ext cx="788461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2400">
                <a:solidFill>
                  <a:srgbClr val="5C5C5C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4181857"/>
            <a:ext cx="54864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  <a:lvl2pPr marL="306908" indent="0">
              <a:buNone/>
              <a:defRPr/>
            </a:lvl2pPr>
            <a:lvl3pPr marL="644975" indent="0">
              <a:buNone/>
              <a:defRPr/>
            </a:lvl3pPr>
            <a:lvl4pPr marL="916493" indent="0">
              <a:buNone/>
              <a:defRPr/>
            </a:lvl4pPr>
            <a:lvl5pPr marL="1230176" indent="0">
              <a:buNone/>
              <a:defRPr/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4800" y="4576663"/>
            <a:ext cx="54864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9544" y="3174717"/>
            <a:ext cx="1973067" cy="6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700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1355585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85992469"/>
      </p:ext>
    </p:extLst>
  </p:cSld>
  <p:clrMapOvr>
    <a:masterClrMapping/>
  </p:clrMapOvr>
  <p:transition>
    <p:wipe dir="r"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0818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913571"/>
      </p:ext>
    </p:extLst>
  </p:cSld>
  <p:clrMapOvr>
    <a:masterClrMapping/>
  </p:clrMapOvr>
  <p:transition>
    <p:wipe dir="r"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685802"/>
            <a:ext cx="115824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  <a:lvl2pPr marL="230172" indent="0">
              <a:buNone/>
              <a:defRPr/>
            </a:lvl2pPr>
            <a:lvl3pPr marL="483712" indent="0">
              <a:buNone/>
              <a:defRPr/>
            </a:lvl3pPr>
            <a:lvl4pPr marL="687341" indent="0">
              <a:buNone/>
              <a:defRPr/>
            </a:lvl4pPr>
            <a:lvl5pPr marL="922596" indent="0">
              <a:buNone/>
              <a:defRPr/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1"/>
            <a:ext cx="11582400" cy="558101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92876"/>
            <a:ext cx="37795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C19C67A3-BED2-284C-B277-97C0CD92F6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0448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3C29A7C-81F2-449F-838C-474F38E3AF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9525" y="1524001"/>
            <a:ext cx="2647622" cy="4571998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5DDE7C4-8A69-444E-B0A3-EA8AE47E36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1" y="1524001"/>
            <a:ext cx="8317522" cy="4571998"/>
          </a:xfrm>
        </p:spPr>
        <p:txBody>
          <a:bodyPr/>
          <a:lstStyle>
            <a:lvl1pPr marL="404813" indent="-404813">
              <a:lnSpc>
                <a:spcPct val="100000"/>
              </a:lnSpc>
              <a:spcBef>
                <a:spcPts val="0"/>
              </a:spcBef>
              <a:spcAft>
                <a:spcPts val="2200"/>
              </a:spcAft>
              <a:buClr>
                <a:schemeClr val="accent2"/>
              </a:buClr>
              <a:buSzPct val="100000"/>
              <a:buFont typeface="+mj-lt"/>
              <a:buAutoNum type="arabicPeriod"/>
              <a:tabLst/>
              <a:defRPr sz="2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9817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1642985" y="2501617"/>
            <a:ext cx="4860996" cy="334151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861527" y="2501617"/>
            <a:ext cx="4860996" cy="334151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57001" y="1310602"/>
            <a:ext cx="4632960" cy="332399"/>
          </a:xfrm>
        </p:spPr>
        <p:txBody>
          <a:bodyPr anchor="b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75544" y="1310602"/>
            <a:ext cx="4632960" cy="332399"/>
          </a:xfrm>
        </p:spPr>
        <p:txBody>
          <a:bodyPr anchor="b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592907" y="601430"/>
            <a:ext cx="12784907" cy="1159383"/>
            <a:chOff x="-92255" y="1599774"/>
            <a:chExt cx="9588680" cy="869537"/>
          </a:xfrm>
        </p:grpSpPr>
        <p:grpSp>
          <p:nvGrpSpPr>
            <p:cNvPr id="10" name="Group 9"/>
            <p:cNvGrpSpPr/>
            <p:nvPr/>
          </p:nvGrpSpPr>
          <p:grpSpPr>
            <a:xfrm>
              <a:off x="-92255" y="1599774"/>
              <a:ext cx="1783573" cy="869537"/>
              <a:chOff x="-92255" y="2095074"/>
              <a:chExt cx="1783573" cy="869537"/>
            </a:xfrm>
          </p:grpSpPr>
          <p:sp>
            <p:nvSpPr>
              <p:cNvPr id="12" name="Freeform 85"/>
              <p:cNvSpPr>
                <a:spLocks noEditPoints="1"/>
              </p:cNvSpPr>
              <p:nvPr/>
            </p:nvSpPr>
            <p:spPr bwMode="auto">
              <a:xfrm>
                <a:off x="-22119" y="2744399"/>
                <a:ext cx="1567131" cy="205129"/>
              </a:xfrm>
              <a:custGeom>
                <a:avLst/>
                <a:gdLst>
                  <a:gd name="T0" fmla="*/ 1523 w 1589"/>
                  <a:gd name="T1" fmla="*/ 57 h 207"/>
                  <a:gd name="T2" fmla="*/ 1335 w 1589"/>
                  <a:gd name="T3" fmla="*/ 57 h 207"/>
                  <a:gd name="T4" fmla="*/ 1294 w 1589"/>
                  <a:gd name="T5" fmla="*/ 98 h 207"/>
                  <a:gd name="T6" fmla="*/ 1294 w 1589"/>
                  <a:gd name="T7" fmla="*/ 166 h 207"/>
                  <a:gd name="T8" fmla="*/ 1258 w 1589"/>
                  <a:gd name="T9" fmla="*/ 203 h 207"/>
                  <a:gd name="T10" fmla="*/ 1076 w 1589"/>
                  <a:gd name="T11" fmla="*/ 203 h 207"/>
                  <a:gd name="T12" fmla="*/ 1077 w 1589"/>
                  <a:gd name="T13" fmla="*/ 207 h 207"/>
                  <a:gd name="T14" fmla="*/ 1077 w 1589"/>
                  <a:gd name="T15" fmla="*/ 207 h 207"/>
                  <a:gd name="T16" fmla="*/ 1258 w 1589"/>
                  <a:gd name="T17" fmla="*/ 207 h 207"/>
                  <a:gd name="T18" fmla="*/ 1298 w 1589"/>
                  <a:gd name="T19" fmla="*/ 166 h 207"/>
                  <a:gd name="T20" fmla="*/ 1298 w 1589"/>
                  <a:gd name="T21" fmla="*/ 98 h 207"/>
                  <a:gd name="T22" fmla="*/ 1335 w 1589"/>
                  <a:gd name="T23" fmla="*/ 61 h 207"/>
                  <a:gd name="T24" fmla="*/ 1527 w 1589"/>
                  <a:gd name="T25" fmla="*/ 61 h 207"/>
                  <a:gd name="T26" fmla="*/ 1523 w 1589"/>
                  <a:gd name="T27" fmla="*/ 57 h 207"/>
                  <a:gd name="T28" fmla="*/ 1589 w 1589"/>
                  <a:gd name="T29" fmla="*/ 57 h 207"/>
                  <a:gd name="T30" fmla="*/ 1527 w 1589"/>
                  <a:gd name="T31" fmla="*/ 57 h 207"/>
                  <a:gd name="T32" fmla="*/ 1531 w 1589"/>
                  <a:gd name="T33" fmla="*/ 61 h 207"/>
                  <a:gd name="T34" fmla="*/ 1589 w 1589"/>
                  <a:gd name="T35" fmla="*/ 61 h 207"/>
                  <a:gd name="T36" fmla="*/ 1589 w 1589"/>
                  <a:gd name="T37" fmla="*/ 57 h 207"/>
                  <a:gd name="T38" fmla="*/ 231 w 1589"/>
                  <a:gd name="T39" fmla="*/ 0 h 207"/>
                  <a:gd name="T40" fmla="*/ 0 w 1589"/>
                  <a:gd name="T41" fmla="*/ 0 h 207"/>
                  <a:gd name="T42" fmla="*/ 0 w 1589"/>
                  <a:gd name="T43" fmla="*/ 3 h 207"/>
                  <a:gd name="T44" fmla="*/ 230 w 1589"/>
                  <a:gd name="T45" fmla="*/ 3 h 207"/>
                  <a:gd name="T46" fmla="*/ 231 w 1589"/>
                  <a:gd name="T47" fmla="*/ 0 h 207"/>
                  <a:gd name="T48" fmla="*/ 434 w 1589"/>
                  <a:gd name="T49" fmla="*/ 0 h 207"/>
                  <a:gd name="T50" fmla="*/ 260 w 1589"/>
                  <a:gd name="T51" fmla="*/ 0 h 207"/>
                  <a:gd name="T52" fmla="*/ 260 w 1589"/>
                  <a:gd name="T53" fmla="*/ 3 h 207"/>
                  <a:gd name="T54" fmla="*/ 434 w 1589"/>
                  <a:gd name="T55" fmla="*/ 3 h 207"/>
                  <a:gd name="T56" fmla="*/ 434 w 1589"/>
                  <a:gd name="T57" fmla="*/ 0 h 207"/>
                  <a:gd name="T58" fmla="*/ 447 w 1589"/>
                  <a:gd name="T59" fmla="*/ 0 h 207"/>
                  <a:gd name="T60" fmla="*/ 438 w 1589"/>
                  <a:gd name="T61" fmla="*/ 0 h 207"/>
                  <a:gd name="T62" fmla="*/ 438 w 1589"/>
                  <a:gd name="T63" fmla="*/ 3 h 207"/>
                  <a:gd name="T64" fmla="*/ 447 w 1589"/>
                  <a:gd name="T65" fmla="*/ 3 h 207"/>
                  <a:gd name="T66" fmla="*/ 511 w 1589"/>
                  <a:gd name="T67" fmla="*/ 30 h 207"/>
                  <a:gd name="T68" fmla="*/ 564 w 1589"/>
                  <a:gd name="T69" fmla="*/ 82 h 207"/>
                  <a:gd name="T70" fmla="*/ 566 w 1589"/>
                  <a:gd name="T71" fmla="*/ 79 h 207"/>
                  <a:gd name="T72" fmla="*/ 514 w 1589"/>
                  <a:gd name="T73" fmla="*/ 27 h 207"/>
                  <a:gd name="T74" fmla="*/ 447 w 1589"/>
                  <a:gd name="T75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89" h="207">
                    <a:moveTo>
                      <a:pt x="1523" y="57"/>
                    </a:moveTo>
                    <a:cubicBezTo>
                      <a:pt x="1335" y="57"/>
                      <a:pt x="1335" y="57"/>
                      <a:pt x="1335" y="57"/>
                    </a:cubicBezTo>
                    <a:cubicBezTo>
                      <a:pt x="1313" y="57"/>
                      <a:pt x="1294" y="76"/>
                      <a:pt x="1294" y="98"/>
                    </a:cubicBezTo>
                    <a:cubicBezTo>
                      <a:pt x="1294" y="166"/>
                      <a:pt x="1294" y="166"/>
                      <a:pt x="1294" y="166"/>
                    </a:cubicBezTo>
                    <a:cubicBezTo>
                      <a:pt x="1294" y="187"/>
                      <a:pt x="1278" y="203"/>
                      <a:pt x="1258" y="203"/>
                    </a:cubicBezTo>
                    <a:cubicBezTo>
                      <a:pt x="1076" y="203"/>
                      <a:pt x="1076" y="203"/>
                      <a:pt x="1076" y="203"/>
                    </a:cubicBezTo>
                    <a:cubicBezTo>
                      <a:pt x="1077" y="204"/>
                      <a:pt x="1077" y="205"/>
                      <a:pt x="1077" y="207"/>
                    </a:cubicBezTo>
                    <a:cubicBezTo>
                      <a:pt x="1077" y="207"/>
                      <a:pt x="1077" y="207"/>
                      <a:pt x="1077" y="207"/>
                    </a:cubicBezTo>
                    <a:cubicBezTo>
                      <a:pt x="1258" y="207"/>
                      <a:pt x="1258" y="207"/>
                      <a:pt x="1258" y="207"/>
                    </a:cubicBezTo>
                    <a:cubicBezTo>
                      <a:pt x="1280" y="207"/>
                      <a:pt x="1298" y="189"/>
                      <a:pt x="1298" y="166"/>
                    </a:cubicBezTo>
                    <a:cubicBezTo>
                      <a:pt x="1298" y="98"/>
                      <a:pt x="1298" y="98"/>
                      <a:pt x="1298" y="98"/>
                    </a:cubicBezTo>
                    <a:cubicBezTo>
                      <a:pt x="1298" y="78"/>
                      <a:pt x="1315" y="61"/>
                      <a:pt x="1335" y="61"/>
                    </a:cubicBezTo>
                    <a:cubicBezTo>
                      <a:pt x="1527" y="61"/>
                      <a:pt x="1527" y="61"/>
                      <a:pt x="1527" y="61"/>
                    </a:cubicBezTo>
                    <a:cubicBezTo>
                      <a:pt x="1525" y="60"/>
                      <a:pt x="1524" y="59"/>
                      <a:pt x="1523" y="57"/>
                    </a:cubicBezTo>
                    <a:moveTo>
                      <a:pt x="1589" y="57"/>
                    </a:moveTo>
                    <a:cubicBezTo>
                      <a:pt x="1527" y="57"/>
                      <a:pt x="1527" y="57"/>
                      <a:pt x="1527" y="57"/>
                    </a:cubicBezTo>
                    <a:cubicBezTo>
                      <a:pt x="1528" y="59"/>
                      <a:pt x="1529" y="60"/>
                      <a:pt x="1531" y="61"/>
                    </a:cubicBezTo>
                    <a:cubicBezTo>
                      <a:pt x="1589" y="61"/>
                      <a:pt x="1589" y="61"/>
                      <a:pt x="1589" y="61"/>
                    </a:cubicBezTo>
                    <a:cubicBezTo>
                      <a:pt x="1589" y="57"/>
                      <a:pt x="1589" y="57"/>
                      <a:pt x="1589" y="57"/>
                    </a:cubicBezTo>
                    <a:moveTo>
                      <a:pt x="23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30" y="3"/>
                      <a:pt x="230" y="3"/>
                      <a:pt x="230" y="3"/>
                    </a:cubicBezTo>
                    <a:cubicBezTo>
                      <a:pt x="230" y="2"/>
                      <a:pt x="231" y="1"/>
                      <a:pt x="231" y="0"/>
                    </a:cubicBezTo>
                    <a:moveTo>
                      <a:pt x="434" y="0"/>
                    </a:moveTo>
                    <a:cubicBezTo>
                      <a:pt x="260" y="0"/>
                      <a:pt x="260" y="0"/>
                      <a:pt x="260" y="0"/>
                    </a:cubicBezTo>
                    <a:cubicBezTo>
                      <a:pt x="260" y="1"/>
                      <a:pt x="260" y="2"/>
                      <a:pt x="260" y="3"/>
                    </a:cubicBezTo>
                    <a:cubicBezTo>
                      <a:pt x="434" y="3"/>
                      <a:pt x="434" y="3"/>
                      <a:pt x="434" y="3"/>
                    </a:cubicBezTo>
                    <a:cubicBezTo>
                      <a:pt x="434" y="0"/>
                      <a:pt x="434" y="0"/>
                      <a:pt x="434" y="0"/>
                    </a:cubicBezTo>
                    <a:moveTo>
                      <a:pt x="447" y="0"/>
                    </a:moveTo>
                    <a:cubicBezTo>
                      <a:pt x="438" y="0"/>
                      <a:pt x="438" y="0"/>
                      <a:pt x="438" y="0"/>
                    </a:cubicBezTo>
                    <a:cubicBezTo>
                      <a:pt x="438" y="3"/>
                      <a:pt x="438" y="3"/>
                      <a:pt x="438" y="3"/>
                    </a:cubicBezTo>
                    <a:cubicBezTo>
                      <a:pt x="447" y="3"/>
                      <a:pt x="447" y="3"/>
                      <a:pt x="447" y="3"/>
                    </a:cubicBezTo>
                    <a:cubicBezTo>
                      <a:pt x="468" y="3"/>
                      <a:pt x="497" y="15"/>
                      <a:pt x="511" y="30"/>
                    </a:cubicBezTo>
                    <a:cubicBezTo>
                      <a:pt x="564" y="82"/>
                      <a:pt x="564" y="82"/>
                      <a:pt x="564" y="82"/>
                    </a:cubicBezTo>
                    <a:cubicBezTo>
                      <a:pt x="566" y="79"/>
                      <a:pt x="566" y="79"/>
                      <a:pt x="566" y="79"/>
                    </a:cubicBezTo>
                    <a:cubicBezTo>
                      <a:pt x="514" y="27"/>
                      <a:pt x="514" y="27"/>
                      <a:pt x="514" y="27"/>
                    </a:cubicBezTo>
                    <a:cubicBezTo>
                      <a:pt x="499" y="12"/>
                      <a:pt x="469" y="0"/>
                      <a:pt x="447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" name="Freeform 86"/>
              <p:cNvSpPr>
                <a:spLocks/>
              </p:cNvSpPr>
              <p:nvPr/>
            </p:nvSpPr>
            <p:spPr bwMode="auto">
              <a:xfrm>
                <a:off x="1480155" y="2800960"/>
                <a:ext cx="8296" cy="3771"/>
              </a:xfrm>
              <a:custGeom>
                <a:avLst/>
                <a:gdLst>
                  <a:gd name="T0" fmla="*/ 4 w 8"/>
                  <a:gd name="T1" fmla="*/ 0 h 4"/>
                  <a:gd name="T2" fmla="*/ 0 w 8"/>
                  <a:gd name="T3" fmla="*/ 0 h 4"/>
                  <a:gd name="T4" fmla="*/ 4 w 8"/>
                  <a:gd name="T5" fmla="*/ 4 h 4"/>
                  <a:gd name="T6" fmla="*/ 8 w 8"/>
                  <a:gd name="T7" fmla="*/ 4 h 4"/>
                  <a:gd name="T8" fmla="*/ 4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2" y="3"/>
                      <a:pt x="4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3"/>
                      <a:pt x="5" y="2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" name="Freeform 87"/>
              <p:cNvSpPr>
                <a:spLocks noEditPoints="1"/>
              </p:cNvSpPr>
              <p:nvPr/>
            </p:nvSpPr>
            <p:spPr bwMode="auto">
              <a:xfrm>
                <a:off x="535955" y="2825847"/>
                <a:ext cx="475116" cy="123681"/>
              </a:xfrm>
              <a:custGeom>
                <a:avLst/>
                <a:gdLst>
                  <a:gd name="T0" fmla="*/ 401 w 481"/>
                  <a:gd name="T1" fmla="*/ 121 h 125"/>
                  <a:gd name="T2" fmla="*/ 352 w 481"/>
                  <a:gd name="T3" fmla="*/ 121 h 125"/>
                  <a:gd name="T4" fmla="*/ 352 w 481"/>
                  <a:gd name="T5" fmla="*/ 125 h 125"/>
                  <a:gd name="T6" fmla="*/ 352 w 481"/>
                  <a:gd name="T7" fmla="*/ 125 h 125"/>
                  <a:gd name="T8" fmla="*/ 400 w 481"/>
                  <a:gd name="T9" fmla="*/ 125 h 125"/>
                  <a:gd name="T10" fmla="*/ 400 w 481"/>
                  <a:gd name="T11" fmla="*/ 125 h 125"/>
                  <a:gd name="T12" fmla="*/ 401 w 481"/>
                  <a:gd name="T13" fmla="*/ 121 h 125"/>
                  <a:gd name="T14" fmla="*/ 481 w 481"/>
                  <a:gd name="T15" fmla="*/ 121 h 125"/>
                  <a:gd name="T16" fmla="*/ 430 w 481"/>
                  <a:gd name="T17" fmla="*/ 121 h 125"/>
                  <a:gd name="T18" fmla="*/ 430 w 481"/>
                  <a:gd name="T19" fmla="*/ 125 h 125"/>
                  <a:gd name="T20" fmla="*/ 430 w 481"/>
                  <a:gd name="T21" fmla="*/ 125 h 125"/>
                  <a:gd name="T22" fmla="*/ 480 w 481"/>
                  <a:gd name="T23" fmla="*/ 125 h 125"/>
                  <a:gd name="T24" fmla="*/ 480 w 481"/>
                  <a:gd name="T25" fmla="*/ 125 h 125"/>
                  <a:gd name="T26" fmla="*/ 481 w 481"/>
                  <a:gd name="T27" fmla="*/ 121 h 125"/>
                  <a:gd name="T28" fmla="*/ 3 w 481"/>
                  <a:gd name="T29" fmla="*/ 0 h 125"/>
                  <a:gd name="T30" fmla="*/ 0 w 481"/>
                  <a:gd name="T31" fmla="*/ 3 h 125"/>
                  <a:gd name="T32" fmla="*/ 95 w 481"/>
                  <a:gd name="T33" fmla="*/ 97 h 125"/>
                  <a:gd name="T34" fmla="*/ 161 w 481"/>
                  <a:gd name="T35" fmla="*/ 125 h 125"/>
                  <a:gd name="T36" fmla="*/ 322 w 481"/>
                  <a:gd name="T37" fmla="*/ 125 h 125"/>
                  <a:gd name="T38" fmla="*/ 322 w 481"/>
                  <a:gd name="T39" fmla="*/ 125 h 125"/>
                  <a:gd name="T40" fmla="*/ 322 w 481"/>
                  <a:gd name="T41" fmla="*/ 121 h 125"/>
                  <a:gd name="T42" fmla="*/ 161 w 481"/>
                  <a:gd name="T43" fmla="*/ 121 h 125"/>
                  <a:gd name="T44" fmla="*/ 97 w 481"/>
                  <a:gd name="T45" fmla="*/ 94 h 125"/>
                  <a:gd name="T46" fmla="*/ 3 w 481"/>
                  <a:gd name="T47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81" h="125">
                    <a:moveTo>
                      <a:pt x="401" y="121"/>
                    </a:moveTo>
                    <a:cubicBezTo>
                      <a:pt x="352" y="121"/>
                      <a:pt x="352" y="121"/>
                      <a:pt x="352" y="121"/>
                    </a:cubicBezTo>
                    <a:cubicBezTo>
                      <a:pt x="352" y="122"/>
                      <a:pt x="352" y="123"/>
                      <a:pt x="352" y="125"/>
                    </a:cubicBezTo>
                    <a:cubicBezTo>
                      <a:pt x="352" y="125"/>
                      <a:pt x="352" y="125"/>
                      <a:pt x="352" y="125"/>
                    </a:cubicBezTo>
                    <a:cubicBezTo>
                      <a:pt x="400" y="125"/>
                      <a:pt x="400" y="125"/>
                      <a:pt x="400" y="125"/>
                    </a:cubicBezTo>
                    <a:cubicBezTo>
                      <a:pt x="400" y="125"/>
                      <a:pt x="400" y="125"/>
                      <a:pt x="400" y="125"/>
                    </a:cubicBezTo>
                    <a:cubicBezTo>
                      <a:pt x="400" y="123"/>
                      <a:pt x="400" y="122"/>
                      <a:pt x="401" y="121"/>
                    </a:cubicBezTo>
                    <a:moveTo>
                      <a:pt x="481" y="121"/>
                    </a:moveTo>
                    <a:cubicBezTo>
                      <a:pt x="430" y="121"/>
                      <a:pt x="430" y="121"/>
                      <a:pt x="430" y="121"/>
                    </a:cubicBezTo>
                    <a:cubicBezTo>
                      <a:pt x="430" y="122"/>
                      <a:pt x="430" y="123"/>
                      <a:pt x="430" y="125"/>
                    </a:cubicBezTo>
                    <a:cubicBezTo>
                      <a:pt x="430" y="125"/>
                      <a:pt x="430" y="125"/>
                      <a:pt x="430" y="125"/>
                    </a:cubicBezTo>
                    <a:cubicBezTo>
                      <a:pt x="480" y="125"/>
                      <a:pt x="480" y="125"/>
                      <a:pt x="480" y="125"/>
                    </a:cubicBezTo>
                    <a:cubicBezTo>
                      <a:pt x="480" y="125"/>
                      <a:pt x="480" y="125"/>
                      <a:pt x="480" y="125"/>
                    </a:cubicBezTo>
                    <a:cubicBezTo>
                      <a:pt x="480" y="123"/>
                      <a:pt x="481" y="122"/>
                      <a:pt x="481" y="121"/>
                    </a:cubicBezTo>
                    <a:moveTo>
                      <a:pt x="3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95" y="97"/>
                      <a:pt x="95" y="97"/>
                      <a:pt x="95" y="97"/>
                    </a:cubicBezTo>
                    <a:cubicBezTo>
                      <a:pt x="110" y="112"/>
                      <a:pt x="140" y="125"/>
                      <a:pt x="161" y="125"/>
                    </a:cubicBezTo>
                    <a:cubicBezTo>
                      <a:pt x="322" y="125"/>
                      <a:pt x="322" y="125"/>
                      <a:pt x="322" y="125"/>
                    </a:cubicBezTo>
                    <a:cubicBezTo>
                      <a:pt x="322" y="125"/>
                      <a:pt x="322" y="125"/>
                      <a:pt x="322" y="125"/>
                    </a:cubicBezTo>
                    <a:cubicBezTo>
                      <a:pt x="322" y="123"/>
                      <a:pt x="322" y="122"/>
                      <a:pt x="322" y="121"/>
                    </a:cubicBezTo>
                    <a:cubicBezTo>
                      <a:pt x="161" y="121"/>
                      <a:pt x="161" y="121"/>
                      <a:pt x="161" y="121"/>
                    </a:cubicBezTo>
                    <a:cubicBezTo>
                      <a:pt x="141" y="121"/>
                      <a:pt x="112" y="109"/>
                      <a:pt x="97" y="94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7" name="Freeform 88"/>
              <p:cNvSpPr>
                <a:spLocks noEditPoints="1"/>
              </p:cNvSpPr>
              <p:nvPr/>
            </p:nvSpPr>
            <p:spPr bwMode="auto">
              <a:xfrm>
                <a:off x="-92255" y="2538515"/>
                <a:ext cx="1715699" cy="399701"/>
              </a:xfrm>
              <a:custGeom>
                <a:avLst/>
                <a:gdLst>
                  <a:gd name="T0" fmla="*/ 1605 w 1739"/>
                  <a:gd name="T1" fmla="*/ 81 h 404"/>
                  <a:gd name="T2" fmla="*/ 1488 w 1739"/>
                  <a:gd name="T3" fmla="*/ 81 h 404"/>
                  <a:gd name="T4" fmla="*/ 1488 w 1739"/>
                  <a:gd name="T5" fmla="*/ 85 h 404"/>
                  <a:gd name="T6" fmla="*/ 1607 w 1739"/>
                  <a:gd name="T7" fmla="*/ 85 h 404"/>
                  <a:gd name="T8" fmla="*/ 1605 w 1739"/>
                  <a:gd name="T9" fmla="*/ 82 h 404"/>
                  <a:gd name="T10" fmla="*/ 1605 w 1739"/>
                  <a:gd name="T11" fmla="*/ 81 h 404"/>
                  <a:gd name="T12" fmla="*/ 1694 w 1739"/>
                  <a:gd name="T13" fmla="*/ 81 h 404"/>
                  <a:gd name="T14" fmla="*/ 1618 w 1739"/>
                  <a:gd name="T15" fmla="*/ 81 h 404"/>
                  <a:gd name="T16" fmla="*/ 1620 w 1739"/>
                  <a:gd name="T17" fmla="*/ 85 h 404"/>
                  <a:gd name="T18" fmla="*/ 1696 w 1739"/>
                  <a:gd name="T19" fmla="*/ 85 h 404"/>
                  <a:gd name="T20" fmla="*/ 1694 w 1739"/>
                  <a:gd name="T21" fmla="*/ 81 h 404"/>
                  <a:gd name="T22" fmla="*/ 1739 w 1739"/>
                  <a:gd name="T23" fmla="*/ 81 h 404"/>
                  <a:gd name="T24" fmla="*/ 1698 w 1739"/>
                  <a:gd name="T25" fmla="*/ 81 h 404"/>
                  <a:gd name="T26" fmla="*/ 1701 w 1739"/>
                  <a:gd name="T27" fmla="*/ 85 h 404"/>
                  <a:gd name="T28" fmla="*/ 1739 w 1739"/>
                  <a:gd name="T29" fmla="*/ 85 h 404"/>
                  <a:gd name="T30" fmla="*/ 1739 w 1739"/>
                  <a:gd name="T31" fmla="*/ 81 h 404"/>
                  <a:gd name="T32" fmla="*/ 453 w 1739"/>
                  <a:gd name="T33" fmla="*/ 0 h 404"/>
                  <a:gd name="T34" fmla="*/ 0 w 1739"/>
                  <a:gd name="T35" fmla="*/ 0 h 404"/>
                  <a:gd name="T36" fmla="*/ 0 w 1739"/>
                  <a:gd name="T37" fmla="*/ 3 h 404"/>
                  <a:gd name="T38" fmla="*/ 453 w 1739"/>
                  <a:gd name="T39" fmla="*/ 3 h 404"/>
                  <a:gd name="T40" fmla="*/ 453 w 1739"/>
                  <a:gd name="T41" fmla="*/ 0 h 404"/>
                  <a:gd name="T42" fmla="*/ 468 w 1739"/>
                  <a:gd name="T43" fmla="*/ 0 h 404"/>
                  <a:gd name="T44" fmla="*/ 457 w 1739"/>
                  <a:gd name="T45" fmla="*/ 0 h 404"/>
                  <a:gd name="T46" fmla="*/ 457 w 1739"/>
                  <a:gd name="T47" fmla="*/ 3 h 404"/>
                  <a:gd name="T48" fmla="*/ 468 w 1739"/>
                  <a:gd name="T49" fmla="*/ 3 h 404"/>
                  <a:gd name="T50" fmla="*/ 505 w 1739"/>
                  <a:gd name="T51" fmla="*/ 40 h 404"/>
                  <a:gd name="T52" fmla="*/ 505 w 1739"/>
                  <a:gd name="T53" fmla="*/ 208 h 404"/>
                  <a:gd name="T54" fmla="*/ 505 w 1739"/>
                  <a:gd name="T55" fmla="*/ 211 h 404"/>
                  <a:gd name="T56" fmla="*/ 505 w 1739"/>
                  <a:gd name="T57" fmla="*/ 382 h 404"/>
                  <a:gd name="T58" fmla="*/ 514 w 1739"/>
                  <a:gd name="T59" fmla="*/ 403 h 404"/>
                  <a:gd name="T60" fmla="*/ 518 w 1739"/>
                  <a:gd name="T61" fmla="*/ 404 h 404"/>
                  <a:gd name="T62" fmla="*/ 535 w 1739"/>
                  <a:gd name="T63" fmla="*/ 395 h 404"/>
                  <a:gd name="T64" fmla="*/ 637 w 1739"/>
                  <a:gd name="T65" fmla="*/ 293 h 404"/>
                  <a:gd name="T66" fmla="*/ 640 w 1739"/>
                  <a:gd name="T67" fmla="*/ 290 h 404"/>
                  <a:gd name="T68" fmla="*/ 819 w 1739"/>
                  <a:gd name="T69" fmla="*/ 111 h 404"/>
                  <a:gd name="T70" fmla="*/ 883 w 1739"/>
                  <a:gd name="T71" fmla="*/ 85 h 404"/>
                  <a:gd name="T72" fmla="*/ 940 w 1739"/>
                  <a:gd name="T73" fmla="*/ 85 h 404"/>
                  <a:gd name="T74" fmla="*/ 940 w 1739"/>
                  <a:gd name="T75" fmla="*/ 81 h 404"/>
                  <a:gd name="T76" fmla="*/ 883 w 1739"/>
                  <a:gd name="T77" fmla="*/ 81 h 404"/>
                  <a:gd name="T78" fmla="*/ 816 w 1739"/>
                  <a:gd name="T79" fmla="*/ 108 h 404"/>
                  <a:gd name="T80" fmla="*/ 637 w 1739"/>
                  <a:gd name="T81" fmla="*/ 287 h 404"/>
                  <a:gd name="T82" fmla="*/ 635 w 1739"/>
                  <a:gd name="T83" fmla="*/ 290 h 404"/>
                  <a:gd name="T84" fmla="*/ 532 w 1739"/>
                  <a:gd name="T85" fmla="*/ 392 h 404"/>
                  <a:gd name="T86" fmla="*/ 518 w 1739"/>
                  <a:gd name="T87" fmla="*/ 400 h 404"/>
                  <a:gd name="T88" fmla="*/ 515 w 1739"/>
                  <a:gd name="T89" fmla="*/ 400 h 404"/>
                  <a:gd name="T90" fmla="*/ 509 w 1739"/>
                  <a:gd name="T91" fmla="*/ 382 h 404"/>
                  <a:gd name="T92" fmla="*/ 509 w 1739"/>
                  <a:gd name="T93" fmla="*/ 211 h 404"/>
                  <a:gd name="T94" fmla="*/ 509 w 1739"/>
                  <a:gd name="T95" fmla="*/ 208 h 404"/>
                  <a:gd name="T96" fmla="*/ 509 w 1739"/>
                  <a:gd name="T97" fmla="*/ 40 h 404"/>
                  <a:gd name="T98" fmla="*/ 468 w 1739"/>
                  <a:gd name="T99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39" h="404">
                    <a:moveTo>
                      <a:pt x="1605" y="81"/>
                    </a:moveTo>
                    <a:cubicBezTo>
                      <a:pt x="1488" y="81"/>
                      <a:pt x="1488" y="81"/>
                      <a:pt x="1488" y="81"/>
                    </a:cubicBezTo>
                    <a:cubicBezTo>
                      <a:pt x="1488" y="82"/>
                      <a:pt x="1488" y="83"/>
                      <a:pt x="1488" y="85"/>
                    </a:cubicBezTo>
                    <a:cubicBezTo>
                      <a:pt x="1607" y="85"/>
                      <a:pt x="1607" y="85"/>
                      <a:pt x="1607" y="85"/>
                    </a:cubicBezTo>
                    <a:cubicBezTo>
                      <a:pt x="1606" y="84"/>
                      <a:pt x="1606" y="83"/>
                      <a:pt x="1605" y="82"/>
                    </a:cubicBezTo>
                    <a:cubicBezTo>
                      <a:pt x="1605" y="81"/>
                      <a:pt x="1605" y="81"/>
                      <a:pt x="1605" y="81"/>
                    </a:cubicBezTo>
                    <a:moveTo>
                      <a:pt x="1694" y="81"/>
                    </a:moveTo>
                    <a:cubicBezTo>
                      <a:pt x="1618" y="81"/>
                      <a:pt x="1618" y="81"/>
                      <a:pt x="1618" y="81"/>
                    </a:cubicBezTo>
                    <a:cubicBezTo>
                      <a:pt x="1618" y="82"/>
                      <a:pt x="1619" y="83"/>
                      <a:pt x="1620" y="85"/>
                    </a:cubicBezTo>
                    <a:cubicBezTo>
                      <a:pt x="1696" y="85"/>
                      <a:pt x="1696" y="85"/>
                      <a:pt x="1696" y="85"/>
                    </a:cubicBezTo>
                    <a:cubicBezTo>
                      <a:pt x="1695" y="83"/>
                      <a:pt x="1695" y="82"/>
                      <a:pt x="1694" y="81"/>
                    </a:cubicBezTo>
                    <a:moveTo>
                      <a:pt x="1739" y="81"/>
                    </a:moveTo>
                    <a:cubicBezTo>
                      <a:pt x="1698" y="81"/>
                      <a:pt x="1698" y="81"/>
                      <a:pt x="1698" y="81"/>
                    </a:cubicBezTo>
                    <a:cubicBezTo>
                      <a:pt x="1699" y="82"/>
                      <a:pt x="1700" y="83"/>
                      <a:pt x="1701" y="85"/>
                    </a:cubicBezTo>
                    <a:cubicBezTo>
                      <a:pt x="1739" y="85"/>
                      <a:pt x="1739" y="85"/>
                      <a:pt x="1739" y="85"/>
                    </a:cubicBezTo>
                    <a:cubicBezTo>
                      <a:pt x="1739" y="83"/>
                      <a:pt x="1739" y="82"/>
                      <a:pt x="1739" y="81"/>
                    </a:cubicBezTo>
                    <a:moveTo>
                      <a:pt x="4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53" y="3"/>
                      <a:pt x="453" y="3"/>
                      <a:pt x="453" y="3"/>
                    </a:cubicBezTo>
                    <a:cubicBezTo>
                      <a:pt x="453" y="0"/>
                      <a:pt x="453" y="0"/>
                      <a:pt x="453" y="0"/>
                    </a:cubicBezTo>
                    <a:moveTo>
                      <a:pt x="468" y="0"/>
                    </a:moveTo>
                    <a:cubicBezTo>
                      <a:pt x="457" y="0"/>
                      <a:pt x="457" y="0"/>
                      <a:pt x="457" y="0"/>
                    </a:cubicBezTo>
                    <a:cubicBezTo>
                      <a:pt x="457" y="3"/>
                      <a:pt x="457" y="3"/>
                      <a:pt x="457" y="3"/>
                    </a:cubicBezTo>
                    <a:cubicBezTo>
                      <a:pt x="468" y="3"/>
                      <a:pt x="468" y="3"/>
                      <a:pt x="468" y="3"/>
                    </a:cubicBezTo>
                    <a:cubicBezTo>
                      <a:pt x="488" y="3"/>
                      <a:pt x="505" y="20"/>
                      <a:pt x="505" y="40"/>
                    </a:cubicBezTo>
                    <a:cubicBezTo>
                      <a:pt x="505" y="208"/>
                      <a:pt x="505" y="208"/>
                      <a:pt x="505" y="208"/>
                    </a:cubicBezTo>
                    <a:cubicBezTo>
                      <a:pt x="505" y="211"/>
                      <a:pt x="505" y="211"/>
                      <a:pt x="505" y="211"/>
                    </a:cubicBezTo>
                    <a:cubicBezTo>
                      <a:pt x="505" y="382"/>
                      <a:pt x="505" y="382"/>
                      <a:pt x="505" y="382"/>
                    </a:cubicBezTo>
                    <a:cubicBezTo>
                      <a:pt x="505" y="393"/>
                      <a:pt x="508" y="401"/>
                      <a:pt x="514" y="403"/>
                    </a:cubicBezTo>
                    <a:cubicBezTo>
                      <a:pt x="515" y="404"/>
                      <a:pt x="517" y="404"/>
                      <a:pt x="518" y="404"/>
                    </a:cubicBezTo>
                    <a:cubicBezTo>
                      <a:pt x="523" y="404"/>
                      <a:pt x="529" y="401"/>
                      <a:pt x="535" y="395"/>
                    </a:cubicBezTo>
                    <a:cubicBezTo>
                      <a:pt x="637" y="293"/>
                      <a:pt x="637" y="293"/>
                      <a:pt x="637" y="293"/>
                    </a:cubicBezTo>
                    <a:cubicBezTo>
                      <a:pt x="640" y="290"/>
                      <a:pt x="640" y="290"/>
                      <a:pt x="640" y="290"/>
                    </a:cubicBezTo>
                    <a:cubicBezTo>
                      <a:pt x="819" y="111"/>
                      <a:pt x="819" y="111"/>
                      <a:pt x="819" y="111"/>
                    </a:cubicBezTo>
                    <a:cubicBezTo>
                      <a:pt x="834" y="97"/>
                      <a:pt x="862" y="85"/>
                      <a:pt x="883" y="85"/>
                    </a:cubicBezTo>
                    <a:cubicBezTo>
                      <a:pt x="940" y="85"/>
                      <a:pt x="940" y="85"/>
                      <a:pt x="940" y="85"/>
                    </a:cubicBezTo>
                    <a:cubicBezTo>
                      <a:pt x="940" y="81"/>
                      <a:pt x="940" y="81"/>
                      <a:pt x="940" y="81"/>
                    </a:cubicBezTo>
                    <a:cubicBezTo>
                      <a:pt x="883" y="81"/>
                      <a:pt x="883" y="81"/>
                      <a:pt x="883" y="81"/>
                    </a:cubicBezTo>
                    <a:cubicBezTo>
                      <a:pt x="861" y="81"/>
                      <a:pt x="831" y="93"/>
                      <a:pt x="816" y="108"/>
                    </a:cubicBezTo>
                    <a:cubicBezTo>
                      <a:pt x="637" y="287"/>
                      <a:pt x="637" y="287"/>
                      <a:pt x="637" y="287"/>
                    </a:cubicBezTo>
                    <a:cubicBezTo>
                      <a:pt x="635" y="290"/>
                      <a:pt x="635" y="290"/>
                      <a:pt x="635" y="290"/>
                    </a:cubicBezTo>
                    <a:cubicBezTo>
                      <a:pt x="532" y="392"/>
                      <a:pt x="532" y="392"/>
                      <a:pt x="532" y="392"/>
                    </a:cubicBezTo>
                    <a:cubicBezTo>
                      <a:pt x="527" y="397"/>
                      <a:pt x="522" y="400"/>
                      <a:pt x="518" y="400"/>
                    </a:cubicBezTo>
                    <a:cubicBezTo>
                      <a:pt x="517" y="400"/>
                      <a:pt x="516" y="400"/>
                      <a:pt x="515" y="400"/>
                    </a:cubicBezTo>
                    <a:cubicBezTo>
                      <a:pt x="511" y="398"/>
                      <a:pt x="509" y="392"/>
                      <a:pt x="509" y="382"/>
                    </a:cubicBezTo>
                    <a:cubicBezTo>
                      <a:pt x="509" y="211"/>
                      <a:pt x="509" y="211"/>
                      <a:pt x="509" y="211"/>
                    </a:cubicBezTo>
                    <a:cubicBezTo>
                      <a:pt x="509" y="208"/>
                      <a:pt x="509" y="208"/>
                      <a:pt x="509" y="208"/>
                    </a:cubicBezTo>
                    <a:cubicBezTo>
                      <a:pt x="509" y="40"/>
                      <a:pt x="509" y="40"/>
                      <a:pt x="509" y="40"/>
                    </a:cubicBezTo>
                    <a:cubicBezTo>
                      <a:pt x="509" y="18"/>
                      <a:pt x="490" y="0"/>
                      <a:pt x="468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8" name="Freeform 89"/>
              <p:cNvSpPr>
                <a:spLocks/>
              </p:cNvSpPr>
              <p:nvPr/>
            </p:nvSpPr>
            <p:spPr bwMode="auto">
              <a:xfrm>
                <a:off x="1578949" y="2619209"/>
                <a:ext cx="6787" cy="3771"/>
              </a:xfrm>
              <a:custGeom>
                <a:avLst/>
                <a:gdLst>
                  <a:gd name="T0" fmla="*/ 4 w 7"/>
                  <a:gd name="T1" fmla="*/ 0 h 4"/>
                  <a:gd name="T2" fmla="*/ 0 w 7"/>
                  <a:gd name="T3" fmla="*/ 0 h 4"/>
                  <a:gd name="T4" fmla="*/ 2 w 7"/>
                  <a:gd name="T5" fmla="*/ 4 h 4"/>
                  <a:gd name="T6" fmla="*/ 7 w 7"/>
                  <a:gd name="T7" fmla="*/ 4 h 4"/>
                  <a:gd name="T8" fmla="*/ 4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2"/>
                      <a:pt x="5" y="1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9" name="Freeform 91"/>
              <p:cNvSpPr>
                <a:spLocks noEditPoints="1"/>
              </p:cNvSpPr>
              <p:nvPr/>
            </p:nvSpPr>
            <p:spPr bwMode="auto">
              <a:xfrm>
                <a:off x="839125" y="2619209"/>
                <a:ext cx="508299" cy="3771"/>
              </a:xfrm>
              <a:custGeom>
                <a:avLst/>
                <a:gdLst>
                  <a:gd name="T0" fmla="*/ 112 w 515"/>
                  <a:gd name="T1" fmla="*/ 0 h 4"/>
                  <a:gd name="T2" fmla="*/ 0 w 515"/>
                  <a:gd name="T3" fmla="*/ 0 h 4"/>
                  <a:gd name="T4" fmla="*/ 0 w 515"/>
                  <a:gd name="T5" fmla="*/ 4 h 4"/>
                  <a:gd name="T6" fmla="*/ 113 w 515"/>
                  <a:gd name="T7" fmla="*/ 4 h 4"/>
                  <a:gd name="T8" fmla="*/ 112 w 515"/>
                  <a:gd name="T9" fmla="*/ 0 h 4"/>
                  <a:gd name="T10" fmla="*/ 330 w 515"/>
                  <a:gd name="T11" fmla="*/ 0 h 4"/>
                  <a:gd name="T12" fmla="*/ 142 w 515"/>
                  <a:gd name="T13" fmla="*/ 0 h 4"/>
                  <a:gd name="T14" fmla="*/ 142 w 515"/>
                  <a:gd name="T15" fmla="*/ 4 h 4"/>
                  <a:gd name="T16" fmla="*/ 330 w 515"/>
                  <a:gd name="T17" fmla="*/ 4 h 4"/>
                  <a:gd name="T18" fmla="*/ 330 w 515"/>
                  <a:gd name="T19" fmla="*/ 0 h 4"/>
                  <a:gd name="T20" fmla="*/ 514 w 515"/>
                  <a:gd name="T21" fmla="*/ 0 h 4"/>
                  <a:gd name="T22" fmla="*/ 334 w 515"/>
                  <a:gd name="T23" fmla="*/ 0 h 4"/>
                  <a:gd name="T24" fmla="*/ 334 w 515"/>
                  <a:gd name="T25" fmla="*/ 4 h 4"/>
                  <a:gd name="T26" fmla="*/ 515 w 515"/>
                  <a:gd name="T27" fmla="*/ 4 h 4"/>
                  <a:gd name="T28" fmla="*/ 514 w 515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4">
                    <a:moveTo>
                      <a:pt x="11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2" y="2"/>
                      <a:pt x="112" y="1"/>
                      <a:pt x="112" y="0"/>
                    </a:cubicBezTo>
                    <a:moveTo>
                      <a:pt x="330" y="0"/>
                    </a:move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1"/>
                      <a:pt x="142" y="2"/>
                      <a:pt x="142" y="4"/>
                    </a:cubicBezTo>
                    <a:cubicBezTo>
                      <a:pt x="330" y="4"/>
                      <a:pt x="330" y="4"/>
                      <a:pt x="330" y="4"/>
                    </a:cubicBezTo>
                    <a:cubicBezTo>
                      <a:pt x="330" y="0"/>
                      <a:pt x="330" y="0"/>
                      <a:pt x="330" y="0"/>
                    </a:cubicBezTo>
                    <a:moveTo>
                      <a:pt x="514" y="0"/>
                    </a:move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4"/>
                      <a:pt x="334" y="4"/>
                      <a:pt x="334" y="4"/>
                    </a:cubicBezTo>
                    <a:cubicBezTo>
                      <a:pt x="515" y="4"/>
                      <a:pt x="515" y="4"/>
                      <a:pt x="515" y="4"/>
                    </a:cubicBezTo>
                    <a:cubicBezTo>
                      <a:pt x="514" y="2"/>
                      <a:pt x="514" y="1"/>
                      <a:pt x="51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" name="Rectangle 96"/>
              <p:cNvSpPr>
                <a:spLocks noChangeArrowheads="1"/>
              </p:cNvSpPr>
              <p:nvPr/>
            </p:nvSpPr>
            <p:spPr bwMode="auto">
              <a:xfrm>
                <a:off x="354958" y="2338664"/>
                <a:ext cx="3771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" name="Rectangle 97"/>
              <p:cNvSpPr>
                <a:spLocks noChangeArrowheads="1"/>
              </p:cNvSpPr>
              <p:nvPr/>
            </p:nvSpPr>
            <p:spPr bwMode="auto">
              <a:xfrm>
                <a:off x="354958" y="2338664"/>
                <a:ext cx="3771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" name="Freeform 106"/>
              <p:cNvSpPr>
                <a:spLocks noEditPoints="1"/>
              </p:cNvSpPr>
              <p:nvPr/>
            </p:nvSpPr>
            <p:spPr bwMode="auto">
              <a:xfrm>
                <a:off x="-41727" y="2152389"/>
                <a:ext cx="382356" cy="211917"/>
              </a:xfrm>
              <a:custGeom>
                <a:avLst/>
                <a:gdLst>
                  <a:gd name="T0" fmla="*/ 215 w 388"/>
                  <a:gd name="T1" fmla="*/ 195 h 214"/>
                  <a:gd name="T2" fmla="*/ 211 w 388"/>
                  <a:gd name="T3" fmla="*/ 195 h 214"/>
                  <a:gd name="T4" fmla="*/ 245 w 388"/>
                  <a:gd name="T5" fmla="*/ 214 h 214"/>
                  <a:gd name="T6" fmla="*/ 387 w 388"/>
                  <a:gd name="T7" fmla="*/ 214 h 214"/>
                  <a:gd name="T8" fmla="*/ 387 w 388"/>
                  <a:gd name="T9" fmla="*/ 214 h 214"/>
                  <a:gd name="T10" fmla="*/ 388 w 388"/>
                  <a:gd name="T11" fmla="*/ 210 h 214"/>
                  <a:gd name="T12" fmla="*/ 245 w 388"/>
                  <a:gd name="T13" fmla="*/ 210 h 214"/>
                  <a:gd name="T14" fmla="*/ 215 w 388"/>
                  <a:gd name="T15" fmla="*/ 195 h 214"/>
                  <a:gd name="T16" fmla="*/ 168 w 388"/>
                  <a:gd name="T17" fmla="*/ 0 h 214"/>
                  <a:gd name="T18" fmla="*/ 0 w 388"/>
                  <a:gd name="T19" fmla="*/ 0 h 214"/>
                  <a:gd name="T20" fmla="*/ 0 w 388"/>
                  <a:gd name="T21" fmla="*/ 4 h 214"/>
                  <a:gd name="T22" fmla="*/ 168 w 388"/>
                  <a:gd name="T23" fmla="*/ 4 h 214"/>
                  <a:gd name="T24" fmla="*/ 204 w 388"/>
                  <a:gd name="T25" fmla="*/ 40 h 214"/>
                  <a:gd name="T26" fmla="*/ 204 w 388"/>
                  <a:gd name="T27" fmla="*/ 174 h 214"/>
                  <a:gd name="T28" fmla="*/ 207 w 388"/>
                  <a:gd name="T29" fmla="*/ 188 h 214"/>
                  <a:gd name="T30" fmla="*/ 211 w 388"/>
                  <a:gd name="T31" fmla="*/ 188 h 214"/>
                  <a:gd name="T32" fmla="*/ 208 w 388"/>
                  <a:gd name="T33" fmla="*/ 174 h 214"/>
                  <a:gd name="T34" fmla="*/ 208 w 388"/>
                  <a:gd name="T35" fmla="*/ 40 h 214"/>
                  <a:gd name="T36" fmla="*/ 168 w 388"/>
                  <a:gd name="T37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8" h="214">
                    <a:moveTo>
                      <a:pt x="215" y="195"/>
                    </a:moveTo>
                    <a:cubicBezTo>
                      <a:pt x="211" y="195"/>
                      <a:pt x="211" y="195"/>
                      <a:pt x="211" y="195"/>
                    </a:cubicBezTo>
                    <a:cubicBezTo>
                      <a:pt x="218" y="207"/>
                      <a:pt x="230" y="214"/>
                      <a:pt x="245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87" y="214"/>
                      <a:pt x="387" y="214"/>
                      <a:pt x="387" y="214"/>
                    </a:cubicBezTo>
                    <a:cubicBezTo>
                      <a:pt x="387" y="213"/>
                      <a:pt x="387" y="211"/>
                      <a:pt x="388" y="210"/>
                    </a:cubicBezTo>
                    <a:cubicBezTo>
                      <a:pt x="245" y="210"/>
                      <a:pt x="245" y="210"/>
                      <a:pt x="245" y="210"/>
                    </a:cubicBezTo>
                    <a:cubicBezTo>
                      <a:pt x="233" y="210"/>
                      <a:pt x="222" y="204"/>
                      <a:pt x="215" y="195"/>
                    </a:cubicBezTo>
                    <a:moveTo>
                      <a:pt x="16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68" y="4"/>
                      <a:pt x="168" y="4"/>
                      <a:pt x="168" y="4"/>
                    </a:cubicBezTo>
                    <a:cubicBezTo>
                      <a:pt x="188" y="4"/>
                      <a:pt x="204" y="20"/>
                      <a:pt x="204" y="40"/>
                    </a:cubicBezTo>
                    <a:cubicBezTo>
                      <a:pt x="204" y="174"/>
                      <a:pt x="204" y="174"/>
                      <a:pt x="204" y="174"/>
                    </a:cubicBezTo>
                    <a:cubicBezTo>
                      <a:pt x="204" y="179"/>
                      <a:pt x="205" y="184"/>
                      <a:pt x="207" y="188"/>
                    </a:cubicBezTo>
                    <a:cubicBezTo>
                      <a:pt x="211" y="188"/>
                      <a:pt x="211" y="188"/>
                      <a:pt x="211" y="188"/>
                    </a:cubicBezTo>
                    <a:cubicBezTo>
                      <a:pt x="209" y="184"/>
                      <a:pt x="208" y="179"/>
                      <a:pt x="208" y="174"/>
                    </a:cubicBezTo>
                    <a:cubicBezTo>
                      <a:pt x="208" y="40"/>
                      <a:pt x="208" y="40"/>
                      <a:pt x="208" y="40"/>
                    </a:cubicBezTo>
                    <a:cubicBezTo>
                      <a:pt x="208" y="18"/>
                      <a:pt x="190" y="0"/>
                      <a:pt x="168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" name="Freeform 107"/>
              <p:cNvSpPr>
                <a:spLocks/>
              </p:cNvSpPr>
              <p:nvPr/>
            </p:nvSpPr>
            <p:spPr bwMode="auto">
              <a:xfrm>
                <a:off x="162649" y="2338664"/>
                <a:ext cx="7542" cy="6787"/>
              </a:xfrm>
              <a:custGeom>
                <a:avLst/>
                <a:gdLst>
                  <a:gd name="T0" fmla="*/ 4 w 8"/>
                  <a:gd name="T1" fmla="*/ 0 h 7"/>
                  <a:gd name="T2" fmla="*/ 0 w 8"/>
                  <a:gd name="T3" fmla="*/ 0 h 7"/>
                  <a:gd name="T4" fmla="*/ 4 w 8"/>
                  <a:gd name="T5" fmla="*/ 7 h 7"/>
                  <a:gd name="T6" fmla="*/ 8 w 8"/>
                  <a:gd name="T7" fmla="*/ 7 h 7"/>
                  <a:gd name="T8" fmla="*/ 4 w 8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2" y="5"/>
                      <a:pt x="4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7" y="5"/>
                      <a:pt x="5" y="3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" name="Freeform 108"/>
              <p:cNvSpPr>
                <a:spLocks noEditPoints="1"/>
              </p:cNvSpPr>
              <p:nvPr/>
            </p:nvSpPr>
            <p:spPr bwMode="auto">
              <a:xfrm>
                <a:off x="369287" y="2360536"/>
                <a:ext cx="469838" cy="60332"/>
              </a:xfrm>
              <a:custGeom>
                <a:avLst/>
                <a:gdLst>
                  <a:gd name="T0" fmla="*/ 26 w 476"/>
                  <a:gd name="T1" fmla="*/ 0 h 61"/>
                  <a:gd name="T2" fmla="*/ 0 w 476"/>
                  <a:gd name="T3" fmla="*/ 0 h 61"/>
                  <a:gd name="T4" fmla="*/ 0 w 476"/>
                  <a:gd name="T5" fmla="*/ 4 h 61"/>
                  <a:gd name="T6" fmla="*/ 0 w 476"/>
                  <a:gd name="T7" fmla="*/ 4 h 61"/>
                  <a:gd name="T8" fmla="*/ 28 w 476"/>
                  <a:gd name="T9" fmla="*/ 4 h 61"/>
                  <a:gd name="T10" fmla="*/ 26 w 476"/>
                  <a:gd name="T11" fmla="*/ 0 h 61"/>
                  <a:gd name="T12" fmla="*/ 113 w 476"/>
                  <a:gd name="T13" fmla="*/ 0 h 61"/>
                  <a:gd name="T14" fmla="*/ 39 w 476"/>
                  <a:gd name="T15" fmla="*/ 0 h 61"/>
                  <a:gd name="T16" fmla="*/ 41 w 476"/>
                  <a:gd name="T17" fmla="*/ 4 h 61"/>
                  <a:gd name="T18" fmla="*/ 111 w 476"/>
                  <a:gd name="T19" fmla="*/ 4 h 61"/>
                  <a:gd name="T20" fmla="*/ 113 w 476"/>
                  <a:gd name="T21" fmla="*/ 0 h 61"/>
                  <a:gd name="T22" fmla="*/ 218 w 476"/>
                  <a:gd name="T23" fmla="*/ 0 h 61"/>
                  <a:gd name="T24" fmla="*/ 126 w 476"/>
                  <a:gd name="T25" fmla="*/ 0 h 61"/>
                  <a:gd name="T26" fmla="*/ 124 w 476"/>
                  <a:gd name="T27" fmla="*/ 4 h 61"/>
                  <a:gd name="T28" fmla="*/ 218 w 476"/>
                  <a:gd name="T29" fmla="*/ 4 h 61"/>
                  <a:gd name="T30" fmla="*/ 218 w 476"/>
                  <a:gd name="T31" fmla="*/ 0 h 61"/>
                  <a:gd name="T32" fmla="*/ 435 w 476"/>
                  <a:gd name="T33" fmla="*/ 0 h 61"/>
                  <a:gd name="T34" fmla="*/ 221 w 476"/>
                  <a:gd name="T35" fmla="*/ 0 h 61"/>
                  <a:gd name="T36" fmla="*/ 221 w 476"/>
                  <a:gd name="T37" fmla="*/ 4 h 61"/>
                  <a:gd name="T38" fmla="*/ 435 w 476"/>
                  <a:gd name="T39" fmla="*/ 4 h 61"/>
                  <a:gd name="T40" fmla="*/ 472 w 476"/>
                  <a:gd name="T41" fmla="*/ 41 h 61"/>
                  <a:gd name="T42" fmla="*/ 472 w 476"/>
                  <a:gd name="T43" fmla="*/ 61 h 61"/>
                  <a:gd name="T44" fmla="*/ 476 w 476"/>
                  <a:gd name="T45" fmla="*/ 61 h 61"/>
                  <a:gd name="T46" fmla="*/ 476 w 476"/>
                  <a:gd name="T47" fmla="*/ 41 h 61"/>
                  <a:gd name="T48" fmla="*/ 435 w 476"/>
                  <a:gd name="T4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6" h="61">
                    <a:moveTo>
                      <a:pt x="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7" y="3"/>
                      <a:pt x="27" y="2"/>
                      <a:pt x="26" y="0"/>
                    </a:cubicBezTo>
                    <a:moveTo>
                      <a:pt x="113" y="0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40" y="2"/>
                      <a:pt x="40" y="3"/>
                      <a:pt x="41" y="4"/>
                    </a:cubicBezTo>
                    <a:cubicBezTo>
                      <a:pt x="111" y="4"/>
                      <a:pt x="111" y="4"/>
                      <a:pt x="111" y="4"/>
                    </a:cubicBezTo>
                    <a:cubicBezTo>
                      <a:pt x="112" y="3"/>
                      <a:pt x="112" y="2"/>
                      <a:pt x="113" y="0"/>
                    </a:cubicBezTo>
                    <a:moveTo>
                      <a:pt x="218" y="0"/>
                    </a:moveTo>
                    <a:cubicBezTo>
                      <a:pt x="126" y="0"/>
                      <a:pt x="126" y="0"/>
                      <a:pt x="126" y="0"/>
                    </a:cubicBezTo>
                    <a:cubicBezTo>
                      <a:pt x="125" y="2"/>
                      <a:pt x="125" y="3"/>
                      <a:pt x="124" y="4"/>
                    </a:cubicBezTo>
                    <a:cubicBezTo>
                      <a:pt x="218" y="4"/>
                      <a:pt x="218" y="4"/>
                      <a:pt x="218" y="4"/>
                    </a:cubicBezTo>
                    <a:cubicBezTo>
                      <a:pt x="218" y="0"/>
                      <a:pt x="218" y="0"/>
                      <a:pt x="218" y="0"/>
                    </a:cubicBezTo>
                    <a:moveTo>
                      <a:pt x="435" y="0"/>
                    </a:moveTo>
                    <a:cubicBezTo>
                      <a:pt x="221" y="0"/>
                      <a:pt x="221" y="0"/>
                      <a:pt x="221" y="0"/>
                    </a:cubicBezTo>
                    <a:cubicBezTo>
                      <a:pt x="221" y="4"/>
                      <a:pt x="221" y="4"/>
                      <a:pt x="221" y="4"/>
                    </a:cubicBezTo>
                    <a:cubicBezTo>
                      <a:pt x="435" y="4"/>
                      <a:pt x="435" y="4"/>
                      <a:pt x="435" y="4"/>
                    </a:cubicBezTo>
                    <a:cubicBezTo>
                      <a:pt x="456" y="4"/>
                      <a:pt x="472" y="20"/>
                      <a:pt x="472" y="41"/>
                    </a:cubicBezTo>
                    <a:cubicBezTo>
                      <a:pt x="472" y="61"/>
                      <a:pt x="472" y="61"/>
                      <a:pt x="472" y="61"/>
                    </a:cubicBezTo>
                    <a:cubicBezTo>
                      <a:pt x="476" y="61"/>
                      <a:pt x="476" y="61"/>
                      <a:pt x="476" y="61"/>
                    </a:cubicBezTo>
                    <a:cubicBezTo>
                      <a:pt x="476" y="41"/>
                      <a:pt x="476" y="41"/>
                      <a:pt x="476" y="41"/>
                    </a:cubicBezTo>
                    <a:cubicBezTo>
                      <a:pt x="476" y="18"/>
                      <a:pt x="458" y="0"/>
                      <a:pt x="43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" name="Freeform 109"/>
              <p:cNvSpPr>
                <a:spLocks noEditPoints="1"/>
              </p:cNvSpPr>
              <p:nvPr/>
            </p:nvSpPr>
            <p:spPr bwMode="auto">
              <a:xfrm>
                <a:off x="394928" y="2360536"/>
                <a:ext cx="98795" cy="3771"/>
              </a:xfrm>
              <a:custGeom>
                <a:avLst/>
                <a:gdLst>
                  <a:gd name="T0" fmla="*/ 13 w 100"/>
                  <a:gd name="T1" fmla="*/ 0 h 4"/>
                  <a:gd name="T2" fmla="*/ 0 w 100"/>
                  <a:gd name="T3" fmla="*/ 0 h 4"/>
                  <a:gd name="T4" fmla="*/ 2 w 100"/>
                  <a:gd name="T5" fmla="*/ 4 h 4"/>
                  <a:gd name="T6" fmla="*/ 15 w 100"/>
                  <a:gd name="T7" fmla="*/ 4 h 4"/>
                  <a:gd name="T8" fmla="*/ 13 w 100"/>
                  <a:gd name="T9" fmla="*/ 0 h 4"/>
                  <a:gd name="T10" fmla="*/ 100 w 100"/>
                  <a:gd name="T11" fmla="*/ 0 h 4"/>
                  <a:gd name="T12" fmla="*/ 87 w 100"/>
                  <a:gd name="T13" fmla="*/ 0 h 4"/>
                  <a:gd name="T14" fmla="*/ 85 w 100"/>
                  <a:gd name="T15" fmla="*/ 4 h 4"/>
                  <a:gd name="T16" fmla="*/ 98 w 100"/>
                  <a:gd name="T17" fmla="*/ 4 h 4"/>
                  <a:gd name="T18" fmla="*/ 100 w 10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4"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3"/>
                      <a:pt x="2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3"/>
                      <a:pt x="14" y="2"/>
                      <a:pt x="13" y="0"/>
                    </a:cubicBezTo>
                    <a:moveTo>
                      <a:pt x="100" y="0"/>
                    </a:moveTo>
                    <a:cubicBezTo>
                      <a:pt x="87" y="0"/>
                      <a:pt x="87" y="0"/>
                      <a:pt x="87" y="0"/>
                    </a:cubicBezTo>
                    <a:cubicBezTo>
                      <a:pt x="86" y="2"/>
                      <a:pt x="86" y="3"/>
                      <a:pt x="85" y="4"/>
                    </a:cubicBezTo>
                    <a:cubicBezTo>
                      <a:pt x="98" y="4"/>
                      <a:pt x="98" y="4"/>
                      <a:pt x="98" y="4"/>
                    </a:cubicBezTo>
                    <a:cubicBezTo>
                      <a:pt x="99" y="3"/>
                      <a:pt x="99" y="2"/>
                      <a:pt x="10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110"/>
              <p:cNvSpPr>
                <a:spLocks noEditPoints="1"/>
              </p:cNvSpPr>
              <p:nvPr/>
            </p:nvSpPr>
            <p:spPr bwMode="auto">
              <a:xfrm>
                <a:off x="835354" y="2424638"/>
                <a:ext cx="525645" cy="325040"/>
              </a:xfrm>
              <a:custGeom>
                <a:avLst/>
                <a:gdLst>
                  <a:gd name="T0" fmla="*/ 533 w 533"/>
                  <a:gd name="T1" fmla="*/ 97 h 328"/>
                  <a:gd name="T2" fmla="*/ 499 w 533"/>
                  <a:gd name="T3" fmla="*/ 97 h 328"/>
                  <a:gd name="T4" fmla="*/ 500 w 533"/>
                  <a:gd name="T5" fmla="*/ 101 h 328"/>
                  <a:gd name="T6" fmla="*/ 533 w 533"/>
                  <a:gd name="T7" fmla="*/ 101 h 328"/>
                  <a:gd name="T8" fmla="*/ 533 w 533"/>
                  <a:gd name="T9" fmla="*/ 97 h 328"/>
                  <a:gd name="T10" fmla="*/ 4 w 533"/>
                  <a:gd name="T11" fmla="*/ 0 h 328"/>
                  <a:gd name="T12" fmla="*/ 0 w 533"/>
                  <a:gd name="T13" fmla="*/ 0 h 328"/>
                  <a:gd name="T14" fmla="*/ 0 w 533"/>
                  <a:gd name="T15" fmla="*/ 196 h 328"/>
                  <a:gd name="T16" fmla="*/ 0 w 533"/>
                  <a:gd name="T17" fmla="*/ 200 h 328"/>
                  <a:gd name="T18" fmla="*/ 0 w 533"/>
                  <a:gd name="T19" fmla="*/ 288 h 328"/>
                  <a:gd name="T20" fmla="*/ 40 w 533"/>
                  <a:gd name="T21" fmla="*/ 328 h 328"/>
                  <a:gd name="T22" fmla="*/ 298 w 533"/>
                  <a:gd name="T23" fmla="*/ 328 h 328"/>
                  <a:gd name="T24" fmla="*/ 338 w 533"/>
                  <a:gd name="T25" fmla="*/ 288 h 328"/>
                  <a:gd name="T26" fmla="*/ 338 w 533"/>
                  <a:gd name="T27" fmla="*/ 200 h 328"/>
                  <a:gd name="T28" fmla="*/ 338 w 533"/>
                  <a:gd name="T29" fmla="*/ 196 h 328"/>
                  <a:gd name="T30" fmla="*/ 338 w 533"/>
                  <a:gd name="T31" fmla="*/ 137 h 328"/>
                  <a:gd name="T32" fmla="*/ 374 w 533"/>
                  <a:gd name="T33" fmla="*/ 101 h 328"/>
                  <a:gd name="T34" fmla="*/ 497 w 533"/>
                  <a:gd name="T35" fmla="*/ 101 h 328"/>
                  <a:gd name="T36" fmla="*/ 496 w 533"/>
                  <a:gd name="T37" fmla="*/ 97 h 328"/>
                  <a:gd name="T38" fmla="*/ 374 w 533"/>
                  <a:gd name="T39" fmla="*/ 97 h 328"/>
                  <a:gd name="T40" fmla="*/ 334 w 533"/>
                  <a:gd name="T41" fmla="*/ 137 h 328"/>
                  <a:gd name="T42" fmla="*/ 334 w 533"/>
                  <a:gd name="T43" fmla="*/ 196 h 328"/>
                  <a:gd name="T44" fmla="*/ 334 w 533"/>
                  <a:gd name="T45" fmla="*/ 200 h 328"/>
                  <a:gd name="T46" fmla="*/ 334 w 533"/>
                  <a:gd name="T47" fmla="*/ 288 h 328"/>
                  <a:gd name="T48" fmla="*/ 298 w 533"/>
                  <a:gd name="T49" fmla="*/ 324 h 328"/>
                  <a:gd name="T50" fmla="*/ 40 w 533"/>
                  <a:gd name="T51" fmla="*/ 324 h 328"/>
                  <a:gd name="T52" fmla="*/ 4 w 533"/>
                  <a:gd name="T53" fmla="*/ 288 h 328"/>
                  <a:gd name="T54" fmla="*/ 4 w 533"/>
                  <a:gd name="T55" fmla="*/ 200 h 328"/>
                  <a:gd name="T56" fmla="*/ 4 w 533"/>
                  <a:gd name="T57" fmla="*/ 196 h 328"/>
                  <a:gd name="T58" fmla="*/ 4 w 533"/>
                  <a:gd name="T59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3" h="328">
                    <a:moveTo>
                      <a:pt x="533" y="97"/>
                    </a:moveTo>
                    <a:cubicBezTo>
                      <a:pt x="499" y="97"/>
                      <a:pt x="499" y="97"/>
                      <a:pt x="499" y="97"/>
                    </a:cubicBezTo>
                    <a:cubicBezTo>
                      <a:pt x="500" y="98"/>
                      <a:pt x="500" y="100"/>
                      <a:pt x="500" y="101"/>
                    </a:cubicBezTo>
                    <a:cubicBezTo>
                      <a:pt x="533" y="101"/>
                      <a:pt x="533" y="101"/>
                      <a:pt x="533" y="101"/>
                    </a:cubicBezTo>
                    <a:cubicBezTo>
                      <a:pt x="533" y="97"/>
                      <a:pt x="533" y="97"/>
                      <a:pt x="533" y="97"/>
                    </a:cubicBezTo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6"/>
                      <a:pt x="0" y="196"/>
                      <a:pt x="0" y="196"/>
                    </a:cubicBezTo>
                    <a:cubicBezTo>
                      <a:pt x="0" y="200"/>
                      <a:pt x="0" y="200"/>
                      <a:pt x="0" y="200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310"/>
                      <a:pt x="18" y="328"/>
                      <a:pt x="40" y="328"/>
                    </a:cubicBezTo>
                    <a:cubicBezTo>
                      <a:pt x="298" y="328"/>
                      <a:pt x="298" y="328"/>
                      <a:pt x="298" y="328"/>
                    </a:cubicBezTo>
                    <a:cubicBezTo>
                      <a:pt x="320" y="328"/>
                      <a:pt x="338" y="310"/>
                      <a:pt x="338" y="288"/>
                    </a:cubicBezTo>
                    <a:cubicBezTo>
                      <a:pt x="338" y="200"/>
                      <a:pt x="338" y="200"/>
                      <a:pt x="338" y="200"/>
                    </a:cubicBezTo>
                    <a:cubicBezTo>
                      <a:pt x="338" y="196"/>
                      <a:pt x="338" y="196"/>
                      <a:pt x="338" y="196"/>
                    </a:cubicBezTo>
                    <a:cubicBezTo>
                      <a:pt x="338" y="137"/>
                      <a:pt x="338" y="137"/>
                      <a:pt x="338" y="137"/>
                    </a:cubicBezTo>
                    <a:cubicBezTo>
                      <a:pt x="338" y="117"/>
                      <a:pt x="354" y="101"/>
                      <a:pt x="374" y="101"/>
                    </a:cubicBezTo>
                    <a:cubicBezTo>
                      <a:pt x="497" y="101"/>
                      <a:pt x="497" y="101"/>
                      <a:pt x="497" y="101"/>
                    </a:cubicBezTo>
                    <a:cubicBezTo>
                      <a:pt x="497" y="100"/>
                      <a:pt x="497" y="98"/>
                      <a:pt x="496" y="97"/>
                    </a:cubicBezTo>
                    <a:cubicBezTo>
                      <a:pt x="374" y="97"/>
                      <a:pt x="374" y="97"/>
                      <a:pt x="374" y="97"/>
                    </a:cubicBezTo>
                    <a:cubicBezTo>
                      <a:pt x="352" y="97"/>
                      <a:pt x="334" y="115"/>
                      <a:pt x="334" y="137"/>
                    </a:cubicBezTo>
                    <a:cubicBezTo>
                      <a:pt x="334" y="196"/>
                      <a:pt x="334" y="196"/>
                      <a:pt x="334" y="196"/>
                    </a:cubicBezTo>
                    <a:cubicBezTo>
                      <a:pt x="334" y="200"/>
                      <a:pt x="334" y="200"/>
                      <a:pt x="334" y="200"/>
                    </a:cubicBezTo>
                    <a:cubicBezTo>
                      <a:pt x="334" y="288"/>
                      <a:pt x="334" y="288"/>
                      <a:pt x="334" y="288"/>
                    </a:cubicBezTo>
                    <a:cubicBezTo>
                      <a:pt x="334" y="308"/>
                      <a:pt x="318" y="324"/>
                      <a:pt x="298" y="324"/>
                    </a:cubicBezTo>
                    <a:cubicBezTo>
                      <a:pt x="40" y="324"/>
                      <a:pt x="40" y="324"/>
                      <a:pt x="40" y="324"/>
                    </a:cubicBezTo>
                    <a:cubicBezTo>
                      <a:pt x="20" y="324"/>
                      <a:pt x="4" y="308"/>
                      <a:pt x="4" y="288"/>
                    </a:cubicBezTo>
                    <a:cubicBezTo>
                      <a:pt x="4" y="200"/>
                      <a:pt x="4" y="200"/>
                      <a:pt x="4" y="200"/>
                    </a:cubicBezTo>
                    <a:cubicBezTo>
                      <a:pt x="4" y="196"/>
                      <a:pt x="4" y="196"/>
                      <a:pt x="4" y="196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" name="Freeform 111"/>
              <p:cNvSpPr>
                <a:spLocks/>
              </p:cNvSpPr>
              <p:nvPr/>
            </p:nvSpPr>
            <p:spPr bwMode="auto">
              <a:xfrm>
                <a:off x="1324045" y="2521169"/>
                <a:ext cx="4525" cy="3771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1 w 4"/>
                  <a:gd name="T5" fmla="*/ 4 h 4"/>
                  <a:gd name="T6" fmla="*/ 4 w 4"/>
                  <a:gd name="T7" fmla="*/ 4 h 4"/>
                  <a:gd name="T8" fmla="*/ 3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3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1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Freeform 112"/>
              <p:cNvSpPr>
                <a:spLocks noEditPoints="1"/>
              </p:cNvSpPr>
              <p:nvPr/>
            </p:nvSpPr>
            <p:spPr bwMode="auto">
              <a:xfrm>
                <a:off x="-41727" y="2095074"/>
                <a:ext cx="1130476" cy="329565"/>
              </a:xfrm>
              <a:custGeom>
                <a:avLst/>
                <a:gdLst>
                  <a:gd name="T0" fmla="*/ 638 w 1146"/>
                  <a:gd name="T1" fmla="*/ 253 h 333"/>
                  <a:gd name="T2" fmla="*/ 635 w 1146"/>
                  <a:gd name="T3" fmla="*/ 253 h 333"/>
                  <a:gd name="T4" fmla="*/ 635 w 1146"/>
                  <a:gd name="T5" fmla="*/ 268 h 333"/>
                  <a:gd name="T6" fmla="*/ 635 w 1146"/>
                  <a:gd name="T7" fmla="*/ 272 h 333"/>
                  <a:gd name="T8" fmla="*/ 635 w 1146"/>
                  <a:gd name="T9" fmla="*/ 293 h 333"/>
                  <a:gd name="T10" fmla="*/ 675 w 1146"/>
                  <a:gd name="T11" fmla="*/ 333 h 333"/>
                  <a:gd name="T12" fmla="*/ 889 w 1146"/>
                  <a:gd name="T13" fmla="*/ 333 h 333"/>
                  <a:gd name="T14" fmla="*/ 893 w 1146"/>
                  <a:gd name="T15" fmla="*/ 333 h 333"/>
                  <a:gd name="T16" fmla="*/ 1146 w 1146"/>
                  <a:gd name="T17" fmla="*/ 333 h 333"/>
                  <a:gd name="T18" fmla="*/ 1146 w 1146"/>
                  <a:gd name="T19" fmla="*/ 329 h 333"/>
                  <a:gd name="T20" fmla="*/ 893 w 1146"/>
                  <a:gd name="T21" fmla="*/ 329 h 333"/>
                  <a:gd name="T22" fmla="*/ 889 w 1146"/>
                  <a:gd name="T23" fmla="*/ 329 h 333"/>
                  <a:gd name="T24" fmla="*/ 675 w 1146"/>
                  <a:gd name="T25" fmla="*/ 329 h 333"/>
                  <a:gd name="T26" fmla="*/ 638 w 1146"/>
                  <a:gd name="T27" fmla="*/ 293 h 333"/>
                  <a:gd name="T28" fmla="*/ 638 w 1146"/>
                  <a:gd name="T29" fmla="*/ 272 h 333"/>
                  <a:gd name="T30" fmla="*/ 638 w 1146"/>
                  <a:gd name="T31" fmla="*/ 268 h 333"/>
                  <a:gd name="T32" fmla="*/ 638 w 1146"/>
                  <a:gd name="T33" fmla="*/ 253 h 333"/>
                  <a:gd name="T34" fmla="*/ 638 w 1146"/>
                  <a:gd name="T35" fmla="*/ 133 h 333"/>
                  <a:gd name="T36" fmla="*/ 635 w 1146"/>
                  <a:gd name="T37" fmla="*/ 134 h 333"/>
                  <a:gd name="T38" fmla="*/ 635 w 1146"/>
                  <a:gd name="T39" fmla="*/ 246 h 333"/>
                  <a:gd name="T40" fmla="*/ 638 w 1146"/>
                  <a:gd name="T41" fmla="*/ 246 h 333"/>
                  <a:gd name="T42" fmla="*/ 638 w 1146"/>
                  <a:gd name="T43" fmla="*/ 133 h 333"/>
                  <a:gd name="T44" fmla="*/ 598 w 1146"/>
                  <a:gd name="T45" fmla="*/ 0 h 333"/>
                  <a:gd name="T46" fmla="*/ 406 w 1146"/>
                  <a:gd name="T47" fmla="*/ 0 h 333"/>
                  <a:gd name="T48" fmla="*/ 402 w 1146"/>
                  <a:gd name="T49" fmla="*/ 0 h 333"/>
                  <a:gd name="T50" fmla="*/ 0 w 1146"/>
                  <a:gd name="T51" fmla="*/ 0 h 333"/>
                  <a:gd name="T52" fmla="*/ 0 w 1146"/>
                  <a:gd name="T53" fmla="*/ 3 h 333"/>
                  <a:gd name="T54" fmla="*/ 402 w 1146"/>
                  <a:gd name="T55" fmla="*/ 3 h 333"/>
                  <a:gd name="T56" fmla="*/ 406 w 1146"/>
                  <a:gd name="T57" fmla="*/ 3 h 333"/>
                  <a:gd name="T58" fmla="*/ 598 w 1146"/>
                  <a:gd name="T59" fmla="*/ 3 h 333"/>
                  <a:gd name="T60" fmla="*/ 635 w 1146"/>
                  <a:gd name="T61" fmla="*/ 40 h 333"/>
                  <a:gd name="T62" fmla="*/ 635 w 1146"/>
                  <a:gd name="T63" fmla="*/ 104 h 333"/>
                  <a:gd name="T64" fmla="*/ 638 w 1146"/>
                  <a:gd name="T65" fmla="*/ 104 h 333"/>
                  <a:gd name="T66" fmla="*/ 638 w 1146"/>
                  <a:gd name="T67" fmla="*/ 40 h 333"/>
                  <a:gd name="T68" fmla="*/ 598 w 1146"/>
                  <a:gd name="T69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46" h="333">
                    <a:moveTo>
                      <a:pt x="638" y="253"/>
                    </a:moveTo>
                    <a:cubicBezTo>
                      <a:pt x="635" y="253"/>
                      <a:pt x="635" y="253"/>
                      <a:pt x="635" y="253"/>
                    </a:cubicBezTo>
                    <a:cubicBezTo>
                      <a:pt x="635" y="268"/>
                      <a:pt x="635" y="268"/>
                      <a:pt x="635" y="268"/>
                    </a:cubicBezTo>
                    <a:cubicBezTo>
                      <a:pt x="635" y="272"/>
                      <a:pt x="635" y="272"/>
                      <a:pt x="635" y="272"/>
                    </a:cubicBezTo>
                    <a:cubicBezTo>
                      <a:pt x="635" y="293"/>
                      <a:pt x="635" y="293"/>
                      <a:pt x="635" y="293"/>
                    </a:cubicBezTo>
                    <a:cubicBezTo>
                      <a:pt x="635" y="315"/>
                      <a:pt x="653" y="333"/>
                      <a:pt x="675" y="333"/>
                    </a:cubicBezTo>
                    <a:cubicBezTo>
                      <a:pt x="889" y="333"/>
                      <a:pt x="889" y="333"/>
                      <a:pt x="889" y="333"/>
                    </a:cubicBezTo>
                    <a:cubicBezTo>
                      <a:pt x="893" y="333"/>
                      <a:pt x="893" y="333"/>
                      <a:pt x="893" y="333"/>
                    </a:cubicBezTo>
                    <a:cubicBezTo>
                      <a:pt x="1146" y="333"/>
                      <a:pt x="1146" y="333"/>
                      <a:pt x="1146" y="333"/>
                    </a:cubicBezTo>
                    <a:cubicBezTo>
                      <a:pt x="1146" y="329"/>
                      <a:pt x="1146" y="329"/>
                      <a:pt x="1146" y="329"/>
                    </a:cubicBezTo>
                    <a:cubicBezTo>
                      <a:pt x="893" y="329"/>
                      <a:pt x="893" y="329"/>
                      <a:pt x="893" y="329"/>
                    </a:cubicBezTo>
                    <a:cubicBezTo>
                      <a:pt x="889" y="329"/>
                      <a:pt x="889" y="329"/>
                      <a:pt x="889" y="329"/>
                    </a:cubicBezTo>
                    <a:cubicBezTo>
                      <a:pt x="675" y="329"/>
                      <a:pt x="675" y="329"/>
                      <a:pt x="675" y="329"/>
                    </a:cubicBezTo>
                    <a:cubicBezTo>
                      <a:pt x="655" y="329"/>
                      <a:pt x="638" y="313"/>
                      <a:pt x="638" y="293"/>
                    </a:cubicBezTo>
                    <a:cubicBezTo>
                      <a:pt x="638" y="272"/>
                      <a:pt x="638" y="272"/>
                      <a:pt x="638" y="272"/>
                    </a:cubicBezTo>
                    <a:cubicBezTo>
                      <a:pt x="638" y="268"/>
                      <a:pt x="638" y="268"/>
                      <a:pt x="638" y="268"/>
                    </a:cubicBezTo>
                    <a:cubicBezTo>
                      <a:pt x="638" y="253"/>
                      <a:pt x="638" y="253"/>
                      <a:pt x="638" y="253"/>
                    </a:cubicBezTo>
                    <a:moveTo>
                      <a:pt x="638" y="133"/>
                    </a:moveTo>
                    <a:cubicBezTo>
                      <a:pt x="637" y="134"/>
                      <a:pt x="636" y="134"/>
                      <a:pt x="635" y="134"/>
                    </a:cubicBezTo>
                    <a:cubicBezTo>
                      <a:pt x="635" y="246"/>
                      <a:pt x="635" y="246"/>
                      <a:pt x="635" y="246"/>
                    </a:cubicBezTo>
                    <a:cubicBezTo>
                      <a:pt x="638" y="246"/>
                      <a:pt x="638" y="246"/>
                      <a:pt x="638" y="246"/>
                    </a:cubicBezTo>
                    <a:cubicBezTo>
                      <a:pt x="638" y="133"/>
                      <a:pt x="638" y="133"/>
                      <a:pt x="638" y="133"/>
                    </a:cubicBezTo>
                    <a:moveTo>
                      <a:pt x="598" y="0"/>
                    </a:moveTo>
                    <a:cubicBezTo>
                      <a:pt x="406" y="0"/>
                      <a:pt x="406" y="0"/>
                      <a:pt x="406" y="0"/>
                    </a:cubicBezTo>
                    <a:cubicBezTo>
                      <a:pt x="402" y="0"/>
                      <a:pt x="402" y="0"/>
                      <a:pt x="40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02" y="3"/>
                      <a:pt x="402" y="3"/>
                      <a:pt x="402" y="3"/>
                    </a:cubicBezTo>
                    <a:cubicBezTo>
                      <a:pt x="406" y="3"/>
                      <a:pt x="406" y="3"/>
                      <a:pt x="406" y="3"/>
                    </a:cubicBezTo>
                    <a:cubicBezTo>
                      <a:pt x="598" y="3"/>
                      <a:pt x="598" y="3"/>
                      <a:pt x="598" y="3"/>
                    </a:cubicBezTo>
                    <a:cubicBezTo>
                      <a:pt x="618" y="3"/>
                      <a:pt x="635" y="20"/>
                      <a:pt x="635" y="40"/>
                    </a:cubicBezTo>
                    <a:cubicBezTo>
                      <a:pt x="635" y="104"/>
                      <a:pt x="635" y="104"/>
                      <a:pt x="635" y="104"/>
                    </a:cubicBezTo>
                    <a:cubicBezTo>
                      <a:pt x="636" y="104"/>
                      <a:pt x="637" y="104"/>
                      <a:pt x="638" y="104"/>
                    </a:cubicBezTo>
                    <a:cubicBezTo>
                      <a:pt x="638" y="40"/>
                      <a:pt x="638" y="40"/>
                      <a:pt x="638" y="40"/>
                    </a:cubicBezTo>
                    <a:cubicBezTo>
                      <a:pt x="638" y="18"/>
                      <a:pt x="620" y="0"/>
                      <a:pt x="598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" name="Rectangle 113"/>
              <p:cNvSpPr>
                <a:spLocks noChangeArrowheads="1"/>
              </p:cNvSpPr>
              <p:nvPr/>
            </p:nvSpPr>
            <p:spPr bwMode="auto">
              <a:xfrm>
                <a:off x="584974" y="2338664"/>
                <a:ext cx="2263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" name="Rectangle 114"/>
              <p:cNvSpPr>
                <a:spLocks noChangeArrowheads="1"/>
              </p:cNvSpPr>
              <p:nvPr/>
            </p:nvSpPr>
            <p:spPr bwMode="auto">
              <a:xfrm>
                <a:off x="584974" y="2338664"/>
                <a:ext cx="2263" cy="6787"/>
              </a:xfrm>
              <a:prstGeom prst="rect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" name="Freeform 125"/>
              <p:cNvSpPr>
                <a:spLocks/>
              </p:cNvSpPr>
              <p:nvPr/>
            </p:nvSpPr>
            <p:spPr bwMode="auto">
              <a:xfrm>
                <a:off x="1623444" y="2619209"/>
                <a:ext cx="4525" cy="3771"/>
              </a:xfrm>
              <a:custGeom>
                <a:avLst/>
                <a:gdLst>
                  <a:gd name="T0" fmla="*/ 5 w 5"/>
                  <a:gd name="T1" fmla="*/ 0 h 4"/>
                  <a:gd name="T2" fmla="*/ 0 w 5"/>
                  <a:gd name="T3" fmla="*/ 0 h 4"/>
                  <a:gd name="T4" fmla="*/ 0 w 5"/>
                  <a:gd name="T5" fmla="*/ 4 h 4"/>
                  <a:gd name="T6" fmla="*/ 5 w 5"/>
                  <a:gd name="T7" fmla="*/ 4 h 4"/>
                  <a:gd name="T8" fmla="*/ 5 w 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" name="Freeform 134"/>
              <p:cNvSpPr>
                <a:spLocks noEditPoints="1"/>
              </p:cNvSpPr>
              <p:nvPr/>
            </p:nvSpPr>
            <p:spPr bwMode="auto">
              <a:xfrm>
                <a:off x="1088749" y="2391455"/>
                <a:ext cx="61841" cy="64103"/>
              </a:xfrm>
              <a:custGeom>
                <a:avLst/>
                <a:gdLst>
                  <a:gd name="T0" fmla="*/ 7 w 63"/>
                  <a:gd name="T1" fmla="*/ 32 h 65"/>
                  <a:gd name="T2" fmla="*/ 7 w 63"/>
                  <a:gd name="T3" fmla="*/ 32 h 65"/>
                  <a:gd name="T4" fmla="*/ 32 w 63"/>
                  <a:gd name="T5" fmla="*/ 7 h 65"/>
                  <a:gd name="T6" fmla="*/ 56 w 63"/>
                  <a:gd name="T7" fmla="*/ 32 h 65"/>
                  <a:gd name="T8" fmla="*/ 56 w 63"/>
                  <a:gd name="T9" fmla="*/ 32 h 65"/>
                  <a:gd name="T10" fmla="*/ 56 w 63"/>
                  <a:gd name="T11" fmla="*/ 32 h 65"/>
                  <a:gd name="T12" fmla="*/ 32 w 63"/>
                  <a:gd name="T13" fmla="*/ 57 h 65"/>
                  <a:gd name="T14" fmla="*/ 7 w 63"/>
                  <a:gd name="T15" fmla="*/ 32 h 65"/>
                  <a:gd name="T16" fmla="*/ 7 w 63"/>
                  <a:gd name="T17" fmla="*/ 32 h 65"/>
                  <a:gd name="T18" fmla="*/ 32 w 63"/>
                  <a:gd name="T19" fmla="*/ 0 h 65"/>
                  <a:gd name="T20" fmla="*/ 0 w 63"/>
                  <a:gd name="T21" fmla="*/ 32 h 65"/>
                  <a:gd name="T22" fmla="*/ 32 w 63"/>
                  <a:gd name="T23" fmla="*/ 65 h 65"/>
                  <a:gd name="T24" fmla="*/ 63 w 63"/>
                  <a:gd name="T25" fmla="*/ 32 h 65"/>
                  <a:gd name="T26" fmla="*/ 32 w 63"/>
                  <a:gd name="T2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65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7" y="18"/>
                      <a:pt x="18" y="7"/>
                      <a:pt x="32" y="7"/>
                    </a:cubicBezTo>
                    <a:cubicBezTo>
                      <a:pt x="45" y="7"/>
                      <a:pt x="56" y="18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6" y="46"/>
                      <a:pt x="45" y="57"/>
                      <a:pt x="32" y="57"/>
                    </a:cubicBezTo>
                    <a:cubicBezTo>
                      <a:pt x="18" y="57"/>
                      <a:pt x="7" y="46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  <a:cubicBezTo>
                      <a:pt x="0" y="50"/>
                      <a:pt x="14" y="65"/>
                      <a:pt x="32" y="65"/>
                    </a:cubicBezTo>
                    <a:cubicBezTo>
                      <a:pt x="49" y="65"/>
                      <a:pt x="63" y="50"/>
                      <a:pt x="63" y="32"/>
                    </a:cubicBezTo>
                    <a:cubicBezTo>
                      <a:pt x="63" y="14"/>
                      <a:pt x="49" y="0"/>
                      <a:pt x="3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" name="Freeform 138"/>
              <p:cNvSpPr>
                <a:spLocks noEditPoints="1"/>
              </p:cNvSpPr>
              <p:nvPr/>
            </p:nvSpPr>
            <p:spPr bwMode="auto">
              <a:xfrm>
                <a:off x="1545012" y="2771548"/>
                <a:ext cx="63349" cy="64103"/>
              </a:xfrm>
              <a:custGeom>
                <a:avLst/>
                <a:gdLst>
                  <a:gd name="T0" fmla="*/ 7 w 64"/>
                  <a:gd name="T1" fmla="*/ 32 h 65"/>
                  <a:gd name="T2" fmla="*/ 7 w 64"/>
                  <a:gd name="T3" fmla="*/ 32 h 65"/>
                  <a:gd name="T4" fmla="*/ 32 w 64"/>
                  <a:gd name="T5" fmla="*/ 7 h 65"/>
                  <a:gd name="T6" fmla="*/ 57 w 64"/>
                  <a:gd name="T7" fmla="*/ 32 h 65"/>
                  <a:gd name="T8" fmla="*/ 57 w 64"/>
                  <a:gd name="T9" fmla="*/ 32 h 65"/>
                  <a:gd name="T10" fmla="*/ 57 w 64"/>
                  <a:gd name="T11" fmla="*/ 32 h 65"/>
                  <a:gd name="T12" fmla="*/ 32 w 64"/>
                  <a:gd name="T13" fmla="*/ 57 h 65"/>
                  <a:gd name="T14" fmla="*/ 7 w 64"/>
                  <a:gd name="T15" fmla="*/ 32 h 65"/>
                  <a:gd name="T16" fmla="*/ 7 w 64"/>
                  <a:gd name="T17" fmla="*/ 32 h 65"/>
                  <a:gd name="T18" fmla="*/ 32 w 64"/>
                  <a:gd name="T19" fmla="*/ 0 h 65"/>
                  <a:gd name="T20" fmla="*/ 0 w 64"/>
                  <a:gd name="T21" fmla="*/ 32 h 65"/>
                  <a:gd name="T22" fmla="*/ 32 w 64"/>
                  <a:gd name="T23" fmla="*/ 65 h 65"/>
                  <a:gd name="T24" fmla="*/ 64 w 64"/>
                  <a:gd name="T25" fmla="*/ 32 h 65"/>
                  <a:gd name="T26" fmla="*/ 32 w 64"/>
                  <a:gd name="T2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" h="65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7" y="18"/>
                      <a:pt x="18" y="7"/>
                      <a:pt x="32" y="7"/>
                    </a:cubicBezTo>
                    <a:cubicBezTo>
                      <a:pt x="46" y="7"/>
                      <a:pt x="57" y="18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46"/>
                      <a:pt x="46" y="57"/>
                      <a:pt x="32" y="57"/>
                    </a:cubicBezTo>
                    <a:cubicBezTo>
                      <a:pt x="18" y="57"/>
                      <a:pt x="7" y="46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moveTo>
                      <a:pt x="32" y="0"/>
                    </a:moveTo>
                    <a:cubicBezTo>
                      <a:pt x="14" y="0"/>
                      <a:pt x="0" y="14"/>
                      <a:pt x="0" y="32"/>
                    </a:cubicBezTo>
                    <a:cubicBezTo>
                      <a:pt x="0" y="50"/>
                      <a:pt x="14" y="65"/>
                      <a:pt x="32" y="65"/>
                    </a:cubicBezTo>
                    <a:cubicBezTo>
                      <a:pt x="50" y="65"/>
                      <a:pt x="64" y="50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" name="Freeform 141"/>
              <p:cNvSpPr>
                <a:spLocks noEditPoints="1"/>
              </p:cNvSpPr>
              <p:nvPr/>
            </p:nvSpPr>
            <p:spPr bwMode="auto">
              <a:xfrm>
                <a:off x="1360999" y="2491003"/>
                <a:ext cx="63349" cy="64857"/>
              </a:xfrm>
              <a:custGeom>
                <a:avLst/>
                <a:gdLst>
                  <a:gd name="T0" fmla="*/ 7 w 64"/>
                  <a:gd name="T1" fmla="*/ 32 h 65"/>
                  <a:gd name="T2" fmla="*/ 7 w 64"/>
                  <a:gd name="T3" fmla="*/ 32 h 65"/>
                  <a:gd name="T4" fmla="*/ 32 w 64"/>
                  <a:gd name="T5" fmla="*/ 7 h 65"/>
                  <a:gd name="T6" fmla="*/ 57 w 64"/>
                  <a:gd name="T7" fmla="*/ 32 h 65"/>
                  <a:gd name="T8" fmla="*/ 57 w 64"/>
                  <a:gd name="T9" fmla="*/ 32 h 65"/>
                  <a:gd name="T10" fmla="*/ 57 w 64"/>
                  <a:gd name="T11" fmla="*/ 32 h 65"/>
                  <a:gd name="T12" fmla="*/ 32 w 64"/>
                  <a:gd name="T13" fmla="*/ 57 h 65"/>
                  <a:gd name="T14" fmla="*/ 7 w 64"/>
                  <a:gd name="T15" fmla="*/ 32 h 65"/>
                  <a:gd name="T16" fmla="*/ 7 w 64"/>
                  <a:gd name="T17" fmla="*/ 32 h 65"/>
                  <a:gd name="T18" fmla="*/ 32 w 64"/>
                  <a:gd name="T19" fmla="*/ 0 h 65"/>
                  <a:gd name="T20" fmla="*/ 0 w 64"/>
                  <a:gd name="T21" fmla="*/ 32 h 65"/>
                  <a:gd name="T22" fmla="*/ 32 w 64"/>
                  <a:gd name="T23" fmla="*/ 65 h 65"/>
                  <a:gd name="T24" fmla="*/ 64 w 64"/>
                  <a:gd name="T25" fmla="*/ 32 h 65"/>
                  <a:gd name="T26" fmla="*/ 32 w 64"/>
                  <a:gd name="T2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" h="65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7" y="18"/>
                      <a:pt x="18" y="7"/>
                      <a:pt x="32" y="7"/>
                    </a:cubicBezTo>
                    <a:cubicBezTo>
                      <a:pt x="46" y="7"/>
                      <a:pt x="57" y="18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7" y="46"/>
                      <a:pt x="46" y="57"/>
                      <a:pt x="32" y="57"/>
                    </a:cubicBezTo>
                    <a:cubicBezTo>
                      <a:pt x="18" y="57"/>
                      <a:pt x="7" y="46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moveTo>
                      <a:pt x="32" y="0"/>
                    </a:moveTo>
                    <a:cubicBezTo>
                      <a:pt x="15" y="0"/>
                      <a:pt x="0" y="14"/>
                      <a:pt x="0" y="32"/>
                    </a:cubicBezTo>
                    <a:cubicBezTo>
                      <a:pt x="0" y="50"/>
                      <a:pt x="15" y="65"/>
                      <a:pt x="32" y="65"/>
                    </a:cubicBezTo>
                    <a:cubicBezTo>
                      <a:pt x="50" y="65"/>
                      <a:pt x="64" y="50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" name="Oval 162"/>
              <p:cNvSpPr>
                <a:spLocks noChangeArrowheads="1"/>
              </p:cNvSpPr>
              <p:nvPr/>
            </p:nvSpPr>
            <p:spPr bwMode="auto">
              <a:xfrm>
                <a:off x="1660398" y="2603373"/>
                <a:ext cx="30920" cy="29412"/>
              </a:xfrm>
              <a:prstGeom prst="ellipse">
                <a:avLst/>
              </a:pr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" name="Freeform 163"/>
              <p:cNvSpPr>
                <a:spLocks noEditPoints="1"/>
              </p:cNvSpPr>
              <p:nvPr/>
            </p:nvSpPr>
            <p:spPr bwMode="auto">
              <a:xfrm>
                <a:off x="1345916" y="2603373"/>
                <a:ext cx="29412" cy="15837"/>
              </a:xfrm>
              <a:custGeom>
                <a:avLst/>
                <a:gdLst>
                  <a:gd name="T0" fmla="*/ 8 w 30"/>
                  <a:gd name="T1" fmla="*/ 2 h 16"/>
                  <a:gd name="T2" fmla="*/ 0 w 30"/>
                  <a:gd name="T3" fmla="*/ 15 h 16"/>
                  <a:gd name="T4" fmla="*/ 0 w 30"/>
                  <a:gd name="T5" fmla="*/ 16 h 16"/>
                  <a:gd name="T6" fmla="*/ 14 w 30"/>
                  <a:gd name="T7" fmla="*/ 16 h 16"/>
                  <a:gd name="T8" fmla="*/ 8 w 30"/>
                  <a:gd name="T9" fmla="*/ 2 h 16"/>
                  <a:gd name="T10" fmla="*/ 15 w 30"/>
                  <a:gd name="T11" fmla="*/ 0 h 16"/>
                  <a:gd name="T12" fmla="*/ 10 w 30"/>
                  <a:gd name="T13" fmla="*/ 1 h 16"/>
                  <a:gd name="T14" fmla="*/ 17 w 30"/>
                  <a:gd name="T15" fmla="*/ 16 h 16"/>
                  <a:gd name="T16" fmla="*/ 30 w 30"/>
                  <a:gd name="T17" fmla="*/ 16 h 16"/>
                  <a:gd name="T18" fmla="*/ 30 w 30"/>
                  <a:gd name="T19" fmla="*/ 15 h 16"/>
                  <a:gd name="T20" fmla="*/ 15 w 30"/>
                  <a:gd name="T2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16">
                    <a:moveTo>
                      <a:pt x="8" y="2"/>
                    </a:moveTo>
                    <a:cubicBezTo>
                      <a:pt x="3" y="5"/>
                      <a:pt x="0" y="10"/>
                      <a:pt x="0" y="15"/>
                    </a:cubicBezTo>
                    <a:cubicBezTo>
                      <a:pt x="0" y="15"/>
                      <a:pt x="0" y="16"/>
                      <a:pt x="0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2" y="11"/>
                      <a:pt x="10" y="7"/>
                      <a:pt x="8" y="2"/>
                    </a:cubicBezTo>
                    <a:moveTo>
                      <a:pt x="15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2" y="6"/>
                      <a:pt x="15" y="11"/>
                      <a:pt x="17" y="16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0" y="15"/>
                      <a:pt x="30" y="15"/>
                    </a:cubicBezTo>
                    <a:cubicBezTo>
                      <a:pt x="30" y="7"/>
                      <a:pt x="24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" name="Freeform 164"/>
              <p:cNvSpPr>
                <a:spLocks/>
              </p:cNvSpPr>
              <p:nvPr/>
            </p:nvSpPr>
            <p:spPr bwMode="auto">
              <a:xfrm>
                <a:off x="1354211" y="2604126"/>
                <a:ext cx="8296" cy="15083"/>
              </a:xfrm>
              <a:custGeom>
                <a:avLst/>
                <a:gdLst>
                  <a:gd name="T0" fmla="*/ 2 w 9"/>
                  <a:gd name="T1" fmla="*/ 0 h 15"/>
                  <a:gd name="T2" fmla="*/ 0 w 9"/>
                  <a:gd name="T3" fmla="*/ 1 h 15"/>
                  <a:gd name="T4" fmla="*/ 6 w 9"/>
                  <a:gd name="T5" fmla="*/ 15 h 15"/>
                  <a:gd name="T6" fmla="*/ 9 w 9"/>
                  <a:gd name="T7" fmla="*/ 15 h 15"/>
                  <a:gd name="T8" fmla="*/ 2 w 9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2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2" y="6"/>
                      <a:pt x="4" y="10"/>
                      <a:pt x="6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7" y="10"/>
                      <a:pt x="4" y="5"/>
                      <a:pt x="2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" name="Freeform 165"/>
              <p:cNvSpPr>
                <a:spLocks noEditPoints="1"/>
              </p:cNvSpPr>
              <p:nvPr/>
            </p:nvSpPr>
            <p:spPr bwMode="auto">
              <a:xfrm>
                <a:off x="1347424" y="2622980"/>
                <a:ext cx="27904" cy="9804"/>
              </a:xfrm>
              <a:custGeom>
                <a:avLst/>
                <a:gdLst>
                  <a:gd name="T0" fmla="*/ 15 w 29"/>
                  <a:gd name="T1" fmla="*/ 0 h 10"/>
                  <a:gd name="T2" fmla="*/ 0 w 29"/>
                  <a:gd name="T3" fmla="*/ 0 h 10"/>
                  <a:gd name="T4" fmla="*/ 14 w 29"/>
                  <a:gd name="T5" fmla="*/ 10 h 10"/>
                  <a:gd name="T6" fmla="*/ 19 w 29"/>
                  <a:gd name="T7" fmla="*/ 10 h 10"/>
                  <a:gd name="T8" fmla="*/ 15 w 29"/>
                  <a:gd name="T9" fmla="*/ 0 h 10"/>
                  <a:gd name="T10" fmla="*/ 29 w 29"/>
                  <a:gd name="T11" fmla="*/ 0 h 10"/>
                  <a:gd name="T12" fmla="*/ 18 w 29"/>
                  <a:gd name="T13" fmla="*/ 0 h 10"/>
                  <a:gd name="T14" fmla="*/ 22 w 29"/>
                  <a:gd name="T15" fmla="*/ 8 h 10"/>
                  <a:gd name="T16" fmla="*/ 29 w 29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10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6"/>
                      <a:pt x="7" y="10"/>
                      <a:pt x="14" y="10"/>
                    </a:cubicBezTo>
                    <a:cubicBezTo>
                      <a:pt x="16" y="10"/>
                      <a:pt x="18" y="10"/>
                      <a:pt x="19" y="10"/>
                    </a:cubicBezTo>
                    <a:cubicBezTo>
                      <a:pt x="18" y="6"/>
                      <a:pt x="16" y="3"/>
                      <a:pt x="15" y="0"/>
                    </a:cubicBezTo>
                    <a:moveTo>
                      <a:pt x="29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9" y="3"/>
                      <a:pt x="20" y="6"/>
                      <a:pt x="22" y="8"/>
                    </a:cubicBezTo>
                    <a:cubicBezTo>
                      <a:pt x="25" y="7"/>
                      <a:pt x="28" y="3"/>
                      <a:pt x="29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" name="Freeform 166"/>
              <p:cNvSpPr>
                <a:spLocks/>
              </p:cNvSpPr>
              <p:nvPr/>
            </p:nvSpPr>
            <p:spPr bwMode="auto">
              <a:xfrm>
                <a:off x="1361752" y="2622980"/>
                <a:ext cx="6787" cy="9804"/>
              </a:xfrm>
              <a:custGeom>
                <a:avLst/>
                <a:gdLst>
                  <a:gd name="T0" fmla="*/ 3 w 7"/>
                  <a:gd name="T1" fmla="*/ 0 h 10"/>
                  <a:gd name="T2" fmla="*/ 0 w 7"/>
                  <a:gd name="T3" fmla="*/ 0 h 10"/>
                  <a:gd name="T4" fmla="*/ 4 w 7"/>
                  <a:gd name="T5" fmla="*/ 10 h 10"/>
                  <a:gd name="T6" fmla="*/ 7 w 7"/>
                  <a:gd name="T7" fmla="*/ 8 h 10"/>
                  <a:gd name="T8" fmla="*/ 3 w 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3" y="6"/>
                      <a:pt x="4" y="10"/>
                    </a:cubicBezTo>
                    <a:cubicBezTo>
                      <a:pt x="5" y="9"/>
                      <a:pt x="6" y="9"/>
                      <a:pt x="7" y="8"/>
                    </a:cubicBezTo>
                    <a:cubicBezTo>
                      <a:pt x="5" y="6"/>
                      <a:pt x="4" y="3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" name="Freeform 167"/>
              <p:cNvSpPr>
                <a:spLocks noEditPoints="1"/>
              </p:cNvSpPr>
              <p:nvPr/>
            </p:nvSpPr>
            <p:spPr bwMode="auto">
              <a:xfrm>
                <a:off x="1345916" y="2619209"/>
                <a:ext cx="29412" cy="3771"/>
              </a:xfrm>
              <a:custGeom>
                <a:avLst/>
                <a:gdLst>
                  <a:gd name="T0" fmla="*/ 14 w 30"/>
                  <a:gd name="T1" fmla="*/ 0 h 4"/>
                  <a:gd name="T2" fmla="*/ 0 w 30"/>
                  <a:gd name="T3" fmla="*/ 0 h 4"/>
                  <a:gd name="T4" fmla="*/ 1 w 30"/>
                  <a:gd name="T5" fmla="*/ 4 h 4"/>
                  <a:gd name="T6" fmla="*/ 16 w 30"/>
                  <a:gd name="T7" fmla="*/ 4 h 4"/>
                  <a:gd name="T8" fmla="*/ 14 w 30"/>
                  <a:gd name="T9" fmla="*/ 0 h 4"/>
                  <a:gd name="T10" fmla="*/ 30 w 30"/>
                  <a:gd name="T11" fmla="*/ 0 h 4"/>
                  <a:gd name="T12" fmla="*/ 17 w 30"/>
                  <a:gd name="T13" fmla="*/ 0 h 4"/>
                  <a:gd name="T14" fmla="*/ 19 w 30"/>
                  <a:gd name="T15" fmla="*/ 4 h 4"/>
                  <a:gd name="T16" fmla="*/ 30 w 30"/>
                  <a:gd name="T17" fmla="*/ 4 h 4"/>
                  <a:gd name="T18" fmla="*/ 30 w 3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4">
                    <a:moveTo>
                      <a:pt x="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1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5" y="2"/>
                      <a:pt x="14" y="1"/>
                      <a:pt x="14" y="0"/>
                    </a:cubicBezTo>
                    <a:moveTo>
                      <a:pt x="30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1"/>
                      <a:pt x="18" y="2"/>
                      <a:pt x="19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" name="Freeform 168"/>
              <p:cNvSpPr>
                <a:spLocks/>
              </p:cNvSpPr>
              <p:nvPr/>
            </p:nvSpPr>
            <p:spPr bwMode="auto">
              <a:xfrm>
                <a:off x="1360244" y="2619209"/>
                <a:ext cx="4525" cy="3771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2 w 5"/>
                  <a:gd name="T5" fmla="*/ 4 h 4"/>
                  <a:gd name="T6" fmla="*/ 5 w 5"/>
                  <a:gd name="T7" fmla="*/ 4 h 4"/>
                  <a:gd name="T8" fmla="*/ 3 w 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2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2"/>
                      <a:pt x="3" y="1"/>
                      <a:pt x="3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" name="Freeform 169"/>
              <p:cNvSpPr>
                <a:spLocks noEditPoints="1"/>
              </p:cNvSpPr>
              <p:nvPr/>
            </p:nvSpPr>
            <p:spPr bwMode="auto">
              <a:xfrm>
                <a:off x="949231" y="2603373"/>
                <a:ext cx="30166" cy="29412"/>
              </a:xfrm>
              <a:custGeom>
                <a:avLst/>
                <a:gdLst>
                  <a:gd name="T0" fmla="*/ 30 w 30"/>
                  <a:gd name="T1" fmla="*/ 20 h 30"/>
                  <a:gd name="T2" fmla="*/ 1 w 30"/>
                  <a:gd name="T3" fmla="*/ 20 h 30"/>
                  <a:gd name="T4" fmla="*/ 15 w 30"/>
                  <a:gd name="T5" fmla="*/ 30 h 30"/>
                  <a:gd name="T6" fmla="*/ 30 w 30"/>
                  <a:gd name="T7" fmla="*/ 20 h 30"/>
                  <a:gd name="T8" fmla="*/ 15 w 30"/>
                  <a:gd name="T9" fmla="*/ 0 h 30"/>
                  <a:gd name="T10" fmla="*/ 0 w 30"/>
                  <a:gd name="T11" fmla="*/ 15 h 30"/>
                  <a:gd name="T12" fmla="*/ 0 w 30"/>
                  <a:gd name="T13" fmla="*/ 16 h 30"/>
                  <a:gd name="T14" fmla="*/ 30 w 30"/>
                  <a:gd name="T15" fmla="*/ 16 h 30"/>
                  <a:gd name="T16" fmla="*/ 30 w 30"/>
                  <a:gd name="T17" fmla="*/ 15 h 30"/>
                  <a:gd name="T18" fmla="*/ 15 w 30"/>
                  <a:gd name="T1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0">
                    <a:moveTo>
                      <a:pt x="30" y="20"/>
                    </a:moveTo>
                    <a:cubicBezTo>
                      <a:pt x="1" y="20"/>
                      <a:pt x="1" y="20"/>
                      <a:pt x="1" y="20"/>
                    </a:cubicBezTo>
                    <a:cubicBezTo>
                      <a:pt x="3" y="26"/>
                      <a:pt x="8" y="30"/>
                      <a:pt x="15" y="30"/>
                    </a:cubicBezTo>
                    <a:cubicBezTo>
                      <a:pt x="22" y="30"/>
                      <a:pt x="28" y="26"/>
                      <a:pt x="30" y="20"/>
                    </a:cubicBezTo>
                    <a:moveTo>
                      <a:pt x="15" y="0"/>
                    </a:moveTo>
                    <a:cubicBezTo>
                      <a:pt x="7" y="0"/>
                      <a:pt x="0" y="7"/>
                      <a:pt x="0" y="15"/>
                    </a:cubicBezTo>
                    <a:cubicBezTo>
                      <a:pt x="0" y="15"/>
                      <a:pt x="0" y="16"/>
                      <a:pt x="0" y="16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0" y="15"/>
                      <a:pt x="30" y="15"/>
                    </a:cubicBezTo>
                    <a:cubicBezTo>
                      <a:pt x="30" y="7"/>
                      <a:pt x="24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" name="Freeform 170"/>
              <p:cNvSpPr>
                <a:spLocks/>
              </p:cNvSpPr>
              <p:nvPr/>
            </p:nvSpPr>
            <p:spPr bwMode="auto">
              <a:xfrm>
                <a:off x="949231" y="2619209"/>
                <a:ext cx="30166" cy="3771"/>
              </a:xfrm>
              <a:custGeom>
                <a:avLst/>
                <a:gdLst>
                  <a:gd name="T0" fmla="*/ 30 w 30"/>
                  <a:gd name="T1" fmla="*/ 0 h 4"/>
                  <a:gd name="T2" fmla="*/ 0 w 30"/>
                  <a:gd name="T3" fmla="*/ 0 h 4"/>
                  <a:gd name="T4" fmla="*/ 1 w 30"/>
                  <a:gd name="T5" fmla="*/ 4 h 4"/>
                  <a:gd name="T6" fmla="*/ 30 w 30"/>
                  <a:gd name="T7" fmla="*/ 4 h 4"/>
                  <a:gd name="T8" fmla="*/ 30 w 3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1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" name="Freeform 171"/>
              <p:cNvSpPr>
                <a:spLocks noEditPoints="1"/>
              </p:cNvSpPr>
              <p:nvPr/>
            </p:nvSpPr>
            <p:spPr bwMode="auto">
              <a:xfrm>
                <a:off x="204881" y="2734595"/>
                <a:ext cx="30920" cy="29412"/>
              </a:xfrm>
              <a:custGeom>
                <a:avLst/>
                <a:gdLst>
                  <a:gd name="T0" fmla="*/ 30 w 31"/>
                  <a:gd name="T1" fmla="*/ 13 h 30"/>
                  <a:gd name="T2" fmla="*/ 0 w 31"/>
                  <a:gd name="T3" fmla="*/ 13 h 30"/>
                  <a:gd name="T4" fmla="*/ 0 w 31"/>
                  <a:gd name="T5" fmla="*/ 15 h 30"/>
                  <a:gd name="T6" fmla="*/ 15 w 31"/>
                  <a:gd name="T7" fmla="*/ 30 h 30"/>
                  <a:gd name="T8" fmla="*/ 31 w 31"/>
                  <a:gd name="T9" fmla="*/ 15 h 30"/>
                  <a:gd name="T10" fmla="*/ 30 w 31"/>
                  <a:gd name="T11" fmla="*/ 13 h 30"/>
                  <a:gd name="T12" fmla="*/ 15 w 31"/>
                  <a:gd name="T13" fmla="*/ 0 h 30"/>
                  <a:gd name="T14" fmla="*/ 1 w 31"/>
                  <a:gd name="T15" fmla="*/ 10 h 30"/>
                  <a:gd name="T16" fmla="*/ 30 w 31"/>
                  <a:gd name="T17" fmla="*/ 10 h 30"/>
                  <a:gd name="T18" fmla="*/ 15 w 31"/>
                  <a:gd name="T1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30">
                    <a:moveTo>
                      <a:pt x="30" y="13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4"/>
                      <a:pt x="0" y="14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24" y="30"/>
                      <a:pt x="31" y="23"/>
                      <a:pt x="31" y="15"/>
                    </a:cubicBezTo>
                    <a:cubicBezTo>
                      <a:pt x="31" y="14"/>
                      <a:pt x="31" y="14"/>
                      <a:pt x="30" y="13"/>
                    </a:cubicBezTo>
                    <a:moveTo>
                      <a:pt x="15" y="0"/>
                    </a:moveTo>
                    <a:cubicBezTo>
                      <a:pt x="9" y="0"/>
                      <a:pt x="3" y="4"/>
                      <a:pt x="1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4"/>
                      <a:pt x="22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" name="Freeform 172"/>
              <p:cNvSpPr>
                <a:spLocks/>
              </p:cNvSpPr>
              <p:nvPr/>
            </p:nvSpPr>
            <p:spPr bwMode="auto">
              <a:xfrm>
                <a:off x="204881" y="2744399"/>
                <a:ext cx="29412" cy="3016"/>
              </a:xfrm>
              <a:custGeom>
                <a:avLst/>
                <a:gdLst>
                  <a:gd name="T0" fmla="*/ 30 w 30"/>
                  <a:gd name="T1" fmla="*/ 0 h 3"/>
                  <a:gd name="T2" fmla="*/ 1 w 30"/>
                  <a:gd name="T3" fmla="*/ 0 h 3"/>
                  <a:gd name="T4" fmla="*/ 0 w 30"/>
                  <a:gd name="T5" fmla="*/ 3 h 3"/>
                  <a:gd name="T6" fmla="*/ 30 w 30"/>
                  <a:gd name="T7" fmla="*/ 3 h 3"/>
                  <a:gd name="T8" fmla="*/ 30 w 30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">
                    <a:moveTo>
                      <a:pt x="3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" name="Freeform 173"/>
              <p:cNvSpPr>
                <a:spLocks noEditPoints="1"/>
              </p:cNvSpPr>
              <p:nvPr/>
            </p:nvSpPr>
            <p:spPr bwMode="auto">
              <a:xfrm>
                <a:off x="339875" y="2349223"/>
                <a:ext cx="29412" cy="30166"/>
              </a:xfrm>
              <a:custGeom>
                <a:avLst/>
                <a:gdLst>
                  <a:gd name="T0" fmla="*/ 15 w 30"/>
                  <a:gd name="T1" fmla="*/ 15 h 30"/>
                  <a:gd name="T2" fmla="*/ 0 w 30"/>
                  <a:gd name="T3" fmla="*/ 15 h 30"/>
                  <a:gd name="T4" fmla="*/ 15 w 30"/>
                  <a:gd name="T5" fmla="*/ 30 h 30"/>
                  <a:gd name="T6" fmla="*/ 15 w 30"/>
                  <a:gd name="T7" fmla="*/ 15 h 30"/>
                  <a:gd name="T8" fmla="*/ 30 w 30"/>
                  <a:gd name="T9" fmla="*/ 15 h 30"/>
                  <a:gd name="T10" fmla="*/ 19 w 30"/>
                  <a:gd name="T11" fmla="*/ 15 h 30"/>
                  <a:gd name="T12" fmla="*/ 19 w 30"/>
                  <a:gd name="T13" fmla="*/ 30 h 30"/>
                  <a:gd name="T14" fmla="*/ 30 w 30"/>
                  <a:gd name="T15" fmla="*/ 15 h 30"/>
                  <a:gd name="T16" fmla="*/ 19 w 30"/>
                  <a:gd name="T17" fmla="*/ 0 h 30"/>
                  <a:gd name="T18" fmla="*/ 19 w 30"/>
                  <a:gd name="T19" fmla="*/ 11 h 30"/>
                  <a:gd name="T20" fmla="*/ 30 w 30"/>
                  <a:gd name="T21" fmla="*/ 11 h 30"/>
                  <a:gd name="T22" fmla="*/ 19 w 30"/>
                  <a:gd name="T23" fmla="*/ 0 h 30"/>
                  <a:gd name="T24" fmla="*/ 15 w 30"/>
                  <a:gd name="T25" fmla="*/ 0 h 30"/>
                  <a:gd name="T26" fmla="*/ 1 w 30"/>
                  <a:gd name="T27" fmla="*/ 11 h 30"/>
                  <a:gd name="T28" fmla="*/ 15 w 30"/>
                  <a:gd name="T29" fmla="*/ 11 h 30"/>
                  <a:gd name="T30" fmla="*/ 15 w 30"/>
                  <a:gd name="T3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0">
                    <a:moveTo>
                      <a:pt x="15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15" y="15"/>
                      <a:pt x="15" y="15"/>
                      <a:pt x="15" y="15"/>
                    </a:cubicBezTo>
                    <a:moveTo>
                      <a:pt x="30" y="15"/>
                    </a:move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26" y="28"/>
                      <a:pt x="30" y="22"/>
                      <a:pt x="30" y="15"/>
                    </a:cubicBezTo>
                    <a:moveTo>
                      <a:pt x="19" y="0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6"/>
                      <a:pt x="24" y="2"/>
                      <a:pt x="19" y="0"/>
                    </a:cubicBezTo>
                    <a:moveTo>
                      <a:pt x="15" y="0"/>
                    </a:moveTo>
                    <a:cubicBezTo>
                      <a:pt x="8" y="0"/>
                      <a:pt x="2" y="5"/>
                      <a:pt x="1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" name="Freeform 174"/>
              <p:cNvSpPr>
                <a:spLocks noEditPoints="1"/>
              </p:cNvSpPr>
              <p:nvPr/>
            </p:nvSpPr>
            <p:spPr bwMode="auto">
              <a:xfrm>
                <a:off x="354958" y="2349223"/>
                <a:ext cx="3771" cy="30166"/>
              </a:xfrm>
              <a:custGeom>
                <a:avLst/>
                <a:gdLst>
                  <a:gd name="T0" fmla="*/ 4 w 4"/>
                  <a:gd name="T1" fmla="*/ 15 h 30"/>
                  <a:gd name="T2" fmla="*/ 0 w 4"/>
                  <a:gd name="T3" fmla="*/ 15 h 30"/>
                  <a:gd name="T4" fmla="*/ 0 w 4"/>
                  <a:gd name="T5" fmla="*/ 30 h 30"/>
                  <a:gd name="T6" fmla="*/ 0 w 4"/>
                  <a:gd name="T7" fmla="*/ 30 h 30"/>
                  <a:gd name="T8" fmla="*/ 4 w 4"/>
                  <a:gd name="T9" fmla="*/ 30 h 30"/>
                  <a:gd name="T10" fmla="*/ 4 w 4"/>
                  <a:gd name="T11" fmla="*/ 15 h 30"/>
                  <a:gd name="T12" fmla="*/ 0 w 4"/>
                  <a:gd name="T13" fmla="*/ 0 h 30"/>
                  <a:gd name="T14" fmla="*/ 0 w 4"/>
                  <a:gd name="T15" fmla="*/ 0 h 30"/>
                  <a:gd name="T16" fmla="*/ 0 w 4"/>
                  <a:gd name="T17" fmla="*/ 11 h 30"/>
                  <a:gd name="T18" fmla="*/ 4 w 4"/>
                  <a:gd name="T19" fmla="*/ 11 h 30"/>
                  <a:gd name="T20" fmla="*/ 4 w 4"/>
                  <a:gd name="T21" fmla="*/ 0 h 30"/>
                  <a:gd name="T22" fmla="*/ 0 w 4"/>
                  <a:gd name="T2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30">
                    <a:moveTo>
                      <a:pt x="4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" y="30"/>
                      <a:pt x="3" y="30"/>
                      <a:pt x="4" y="30"/>
                    </a:cubicBezTo>
                    <a:cubicBezTo>
                      <a:pt x="4" y="15"/>
                      <a:pt x="4" y="15"/>
                      <a:pt x="4" y="15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" name="Freeform 175"/>
              <p:cNvSpPr>
                <a:spLocks/>
              </p:cNvSpPr>
              <p:nvPr/>
            </p:nvSpPr>
            <p:spPr bwMode="auto">
              <a:xfrm>
                <a:off x="339875" y="2360536"/>
                <a:ext cx="29412" cy="3771"/>
              </a:xfrm>
              <a:custGeom>
                <a:avLst/>
                <a:gdLst>
                  <a:gd name="T0" fmla="*/ 30 w 30"/>
                  <a:gd name="T1" fmla="*/ 0 h 4"/>
                  <a:gd name="T2" fmla="*/ 19 w 30"/>
                  <a:gd name="T3" fmla="*/ 0 h 4"/>
                  <a:gd name="T4" fmla="*/ 15 w 30"/>
                  <a:gd name="T5" fmla="*/ 0 h 4"/>
                  <a:gd name="T6" fmla="*/ 1 w 30"/>
                  <a:gd name="T7" fmla="*/ 0 h 4"/>
                  <a:gd name="T8" fmla="*/ 0 w 30"/>
                  <a:gd name="T9" fmla="*/ 4 h 4"/>
                  <a:gd name="T10" fmla="*/ 0 w 30"/>
                  <a:gd name="T11" fmla="*/ 4 h 4"/>
                  <a:gd name="T12" fmla="*/ 15 w 30"/>
                  <a:gd name="T13" fmla="*/ 4 h 4"/>
                  <a:gd name="T14" fmla="*/ 19 w 30"/>
                  <a:gd name="T15" fmla="*/ 4 h 4"/>
                  <a:gd name="T16" fmla="*/ 30 w 30"/>
                  <a:gd name="T17" fmla="*/ 4 h 4"/>
                  <a:gd name="T18" fmla="*/ 30 w 30"/>
                  <a:gd name="T19" fmla="*/ 4 h 4"/>
                  <a:gd name="T20" fmla="*/ 30 w 30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3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" name="Freeform 185"/>
              <p:cNvSpPr>
                <a:spLocks noEditPoints="1"/>
              </p:cNvSpPr>
              <p:nvPr/>
            </p:nvSpPr>
            <p:spPr bwMode="auto">
              <a:xfrm>
                <a:off x="569138" y="2198392"/>
                <a:ext cx="29412" cy="29412"/>
              </a:xfrm>
              <a:custGeom>
                <a:avLst/>
                <a:gdLst>
                  <a:gd name="T0" fmla="*/ 19 w 30"/>
                  <a:gd name="T1" fmla="*/ 0 h 30"/>
                  <a:gd name="T2" fmla="*/ 19 w 30"/>
                  <a:gd name="T3" fmla="*/ 29 h 30"/>
                  <a:gd name="T4" fmla="*/ 30 w 30"/>
                  <a:gd name="T5" fmla="*/ 15 h 30"/>
                  <a:gd name="T6" fmla="*/ 19 w 30"/>
                  <a:gd name="T7" fmla="*/ 0 h 30"/>
                  <a:gd name="T8" fmla="*/ 15 w 30"/>
                  <a:gd name="T9" fmla="*/ 0 h 30"/>
                  <a:gd name="T10" fmla="*/ 0 w 30"/>
                  <a:gd name="T11" fmla="*/ 15 h 30"/>
                  <a:gd name="T12" fmla="*/ 15 w 30"/>
                  <a:gd name="T13" fmla="*/ 30 h 30"/>
                  <a:gd name="T14" fmla="*/ 16 w 30"/>
                  <a:gd name="T15" fmla="*/ 30 h 30"/>
                  <a:gd name="T16" fmla="*/ 16 w 30"/>
                  <a:gd name="T17" fmla="*/ 0 h 30"/>
                  <a:gd name="T18" fmla="*/ 15 w 30"/>
                  <a:gd name="T1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0">
                    <a:moveTo>
                      <a:pt x="19" y="0"/>
                    </a:moveTo>
                    <a:cubicBezTo>
                      <a:pt x="19" y="29"/>
                      <a:pt x="19" y="29"/>
                      <a:pt x="19" y="29"/>
                    </a:cubicBezTo>
                    <a:cubicBezTo>
                      <a:pt x="26" y="27"/>
                      <a:pt x="30" y="22"/>
                      <a:pt x="30" y="15"/>
                    </a:cubicBezTo>
                    <a:cubicBezTo>
                      <a:pt x="30" y="8"/>
                      <a:pt x="26" y="2"/>
                      <a:pt x="19" y="0"/>
                    </a:cubicBezTo>
                    <a:moveTo>
                      <a:pt x="15" y="0"/>
                    </a:moveTo>
                    <a:cubicBezTo>
                      <a:pt x="6" y="0"/>
                      <a:pt x="0" y="6"/>
                      <a:pt x="0" y="15"/>
                    </a:cubicBezTo>
                    <a:cubicBezTo>
                      <a:pt x="0" y="23"/>
                      <a:pt x="6" y="30"/>
                      <a:pt x="15" y="30"/>
                    </a:cubicBezTo>
                    <a:cubicBezTo>
                      <a:pt x="15" y="30"/>
                      <a:pt x="15" y="30"/>
                      <a:pt x="16" y="3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" name="Freeform 186"/>
              <p:cNvSpPr>
                <a:spLocks/>
              </p:cNvSpPr>
              <p:nvPr/>
            </p:nvSpPr>
            <p:spPr bwMode="auto">
              <a:xfrm>
                <a:off x="584974" y="2198392"/>
                <a:ext cx="2263" cy="29412"/>
              </a:xfrm>
              <a:custGeom>
                <a:avLst/>
                <a:gdLst>
                  <a:gd name="T0" fmla="*/ 0 w 3"/>
                  <a:gd name="T1" fmla="*/ 0 h 30"/>
                  <a:gd name="T2" fmla="*/ 0 w 3"/>
                  <a:gd name="T3" fmla="*/ 30 h 30"/>
                  <a:gd name="T4" fmla="*/ 3 w 3"/>
                  <a:gd name="T5" fmla="*/ 29 h 30"/>
                  <a:gd name="T6" fmla="*/ 3 w 3"/>
                  <a:gd name="T7" fmla="*/ 0 h 30"/>
                  <a:gd name="T8" fmla="*/ 0 w 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0">
                    <a:moveTo>
                      <a:pt x="0" y="0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1" y="30"/>
                      <a:pt x="2" y="30"/>
                      <a:pt x="3" y="29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" name="Freeform 187"/>
              <p:cNvSpPr>
                <a:spLocks noEditPoints="1"/>
              </p:cNvSpPr>
              <p:nvPr/>
            </p:nvSpPr>
            <p:spPr bwMode="auto">
              <a:xfrm>
                <a:off x="931131" y="2934445"/>
                <a:ext cx="29412" cy="30166"/>
              </a:xfrm>
              <a:custGeom>
                <a:avLst/>
                <a:gdLst>
                  <a:gd name="T0" fmla="*/ 30 w 30"/>
                  <a:gd name="T1" fmla="*/ 15 h 30"/>
                  <a:gd name="T2" fmla="*/ 0 w 30"/>
                  <a:gd name="T3" fmla="*/ 15 h 30"/>
                  <a:gd name="T4" fmla="*/ 15 w 30"/>
                  <a:gd name="T5" fmla="*/ 30 h 30"/>
                  <a:gd name="T6" fmla="*/ 30 w 30"/>
                  <a:gd name="T7" fmla="*/ 15 h 30"/>
                  <a:gd name="T8" fmla="*/ 15 w 30"/>
                  <a:gd name="T9" fmla="*/ 0 h 30"/>
                  <a:gd name="T10" fmla="*/ 1 w 30"/>
                  <a:gd name="T11" fmla="*/ 11 h 30"/>
                  <a:gd name="T12" fmla="*/ 30 w 30"/>
                  <a:gd name="T13" fmla="*/ 11 h 30"/>
                  <a:gd name="T14" fmla="*/ 15 w 30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24" y="30"/>
                      <a:pt x="30" y="23"/>
                      <a:pt x="30" y="15"/>
                    </a:cubicBezTo>
                    <a:moveTo>
                      <a:pt x="15" y="0"/>
                    </a:moveTo>
                    <a:cubicBezTo>
                      <a:pt x="8" y="0"/>
                      <a:pt x="2" y="4"/>
                      <a:pt x="1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8" y="4"/>
                      <a:pt x="22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" name="Freeform 188"/>
              <p:cNvSpPr>
                <a:spLocks/>
              </p:cNvSpPr>
              <p:nvPr/>
            </p:nvSpPr>
            <p:spPr bwMode="auto">
              <a:xfrm>
                <a:off x="931131" y="2945757"/>
                <a:ext cx="29412" cy="3771"/>
              </a:xfrm>
              <a:custGeom>
                <a:avLst/>
                <a:gdLst>
                  <a:gd name="T0" fmla="*/ 30 w 30"/>
                  <a:gd name="T1" fmla="*/ 0 h 4"/>
                  <a:gd name="T2" fmla="*/ 1 w 30"/>
                  <a:gd name="T3" fmla="*/ 0 h 4"/>
                  <a:gd name="T4" fmla="*/ 0 w 30"/>
                  <a:gd name="T5" fmla="*/ 4 h 4"/>
                  <a:gd name="T6" fmla="*/ 0 w 30"/>
                  <a:gd name="T7" fmla="*/ 4 h 4"/>
                  <a:gd name="T8" fmla="*/ 30 w 30"/>
                  <a:gd name="T9" fmla="*/ 4 h 4"/>
                  <a:gd name="T10" fmla="*/ 30 w 30"/>
                  <a:gd name="T11" fmla="*/ 4 h 4"/>
                  <a:gd name="T12" fmla="*/ 30 w 3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" name="Freeform 189"/>
              <p:cNvSpPr>
                <a:spLocks noEditPoints="1"/>
              </p:cNvSpPr>
              <p:nvPr/>
            </p:nvSpPr>
            <p:spPr bwMode="auto">
              <a:xfrm>
                <a:off x="1009563" y="2934445"/>
                <a:ext cx="30920" cy="30166"/>
              </a:xfrm>
              <a:custGeom>
                <a:avLst/>
                <a:gdLst>
                  <a:gd name="T0" fmla="*/ 31 w 31"/>
                  <a:gd name="T1" fmla="*/ 15 h 30"/>
                  <a:gd name="T2" fmla="*/ 0 w 31"/>
                  <a:gd name="T3" fmla="*/ 15 h 30"/>
                  <a:gd name="T4" fmla="*/ 16 w 31"/>
                  <a:gd name="T5" fmla="*/ 30 h 30"/>
                  <a:gd name="T6" fmla="*/ 31 w 31"/>
                  <a:gd name="T7" fmla="*/ 15 h 30"/>
                  <a:gd name="T8" fmla="*/ 16 w 31"/>
                  <a:gd name="T9" fmla="*/ 0 h 30"/>
                  <a:gd name="T10" fmla="*/ 1 w 31"/>
                  <a:gd name="T11" fmla="*/ 11 h 30"/>
                  <a:gd name="T12" fmla="*/ 30 w 31"/>
                  <a:gd name="T13" fmla="*/ 11 h 30"/>
                  <a:gd name="T14" fmla="*/ 16 w 31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0">
                    <a:moveTo>
                      <a:pt x="31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6" y="30"/>
                    </a:cubicBezTo>
                    <a:cubicBezTo>
                      <a:pt x="24" y="30"/>
                      <a:pt x="31" y="23"/>
                      <a:pt x="31" y="15"/>
                    </a:cubicBezTo>
                    <a:moveTo>
                      <a:pt x="16" y="0"/>
                    </a:moveTo>
                    <a:cubicBezTo>
                      <a:pt x="9" y="0"/>
                      <a:pt x="3" y="4"/>
                      <a:pt x="1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4"/>
                      <a:pt x="23" y="0"/>
                      <a:pt x="16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" name="Freeform 190"/>
              <p:cNvSpPr>
                <a:spLocks/>
              </p:cNvSpPr>
              <p:nvPr/>
            </p:nvSpPr>
            <p:spPr bwMode="auto">
              <a:xfrm>
                <a:off x="1009563" y="2945757"/>
                <a:ext cx="30920" cy="3771"/>
              </a:xfrm>
              <a:custGeom>
                <a:avLst/>
                <a:gdLst>
                  <a:gd name="T0" fmla="*/ 30 w 31"/>
                  <a:gd name="T1" fmla="*/ 0 h 4"/>
                  <a:gd name="T2" fmla="*/ 1 w 31"/>
                  <a:gd name="T3" fmla="*/ 0 h 4"/>
                  <a:gd name="T4" fmla="*/ 0 w 31"/>
                  <a:gd name="T5" fmla="*/ 4 h 4"/>
                  <a:gd name="T6" fmla="*/ 0 w 31"/>
                  <a:gd name="T7" fmla="*/ 4 h 4"/>
                  <a:gd name="T8" fmla="*/ 31 w 31"/>
                  <a:gd name="T9" fmla="*/ 4 h 4"/>
                  <a:gd name="T10" fmla="*/ 31 w 31"/>
                  <a:gd name="T11" fmla="*/ 4 h 4"/>
                  <a:gd name="T12" fmla="*/ 30 w 31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4">
                    <a:moveTo>
                      <a:pt x="3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1" y="2"/>
                      <a:pt x="31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" name="Freeform 191"/>
              <p:cNvSpPr>
                <a:spLocks noEditPoints="1"/>
              </p:cNvSpPr>
              <p:nvPr/>
            </p:nvSpPr>
            <p:spPr bwMode="auto">
              <a:xfrm>
                <a:off x="854207" y="2934445"/>
                <a:ext cx="29412" cy="30166"/>
              </a:xfrm>
              <a:custGeom>
                <a:avLst/>
                <a:gdLst>
                  <a:gd name="T0" fmla="*/ 30 w 30"/>
                  <a:gd name="T1" fmla="*/ 15 h 30"/>
                  <a:gd name="T2" fmla="*/ 0 w 30"/>
                  <a:gd name="T3" fmla="*/ 15 h 30"/>
                  <a:gd name="T4" fmla="*/ 15 w 30"/>
                  <a:gd name="T5" fmla="*/ 30 h 30"/>
                  <a:gd name="T6" fmla="*/ 30 w 30"/>
                  <a:gd name="T7" fmla="*/ 15 h 30"/>
                  <a:gd name="T8" fmla="*/ 15 w 30"/>
                  <a:gd name="T9" fmla="*/ 0 h 30"/>
                  <a:gd name="T10" fmla="*/ 0 w 30"/>
                  <a:gd name="T11" fmla="*/ 11 h 30"/>
                  <a:gd name="T12" fmla="*/ 30 w 30"/>
                  <a:gd name="T13" fmla="*/ 11 h 30"/>
                  <a:gd name="T14" fmla="*/ 15 w 30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3"/>
                      <a:pt x="7" y="30"/>
                      <a:pt x="15" y="30"/>
                    </a:cubicBezTo>
                    <a:cubicBezTo>
                      <a:pt x="23" y="30"/>
                      <a:pt x="30" y="23"/>
                      <a:pt x="30" y="15"/>
                    </a:cubicBezTo>
                    <a:moveTo>
                      <a:pt x="15" y="0"/>
                    </a:moveTo>
                    <a:cubicBezTo>
                      <a:pt x="8" y="0"/>
                      <a:pt x="2" y="4"/>
                      <a:pt x="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8" y="4"/>
                      <a:pt x="22" y="0"/>
                      <a:pt x="15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" name="Freeform 192"/>
              <p:cNvSpPr>
                <a:spLocks/>
              </p:cNvSpPr>
              <p:nvPr/>
            </p:nvSpPr>
            <p:spPr bwMode="auto">
              <a:xfrm>
                <a:off x="854207" y="2945757"/>
                <a:ext cx="29412" cy="3771"/>
              </a:xfrm>
              <a:custGeom>
                <a:avLst/>
                <a:gdLst>
                  <a:gd name="T0" fmla="*/ 30 w 30"/>
                  <a:gd name="T1" fmla="*/ 0 h 4"/>
                  <a:gd name="T2" fmla="*/ 0 w 30"/>
                  <a:gd name="T3" fmla="*/ 0 h 4"/>
                  <a:gd name="T4" fmla="*/ 0 w 30"/>
                  <a:gd name="T5" fmla="*/ 4 h 4"/>
                  <a:gd name="T6" fmla="*/ 0 w 30"/>
                  <a:gd name="T7" fmla="*/ 4 h 4"/>
                  <a:gd name="T8" fmla="*/ 30 w 30"/>
                  <a:gd name="T9" fmla="*/ 4 h 4"/>
                  <a:gd name="T10" fmla="*/ 30 w 30"/>
                  <a:gd name="T11" fmla="*/ 4 h 4"/>
                  <a:gd name="T12" fmla="*/ 30 w 3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2"/>
                      <a:pt x="30" y="1"/>
                      <a:pt x="30" y="0"/>
                    </a:cubicBezTo>
                  </a:path>
                </a:pathLst>
              </a:custGeom>
              <a:solidFill>
                <a:schemeClr val="accent3">
                  <a:alpha val="70000"/>
                </a:schemeClr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" name="Straight Connector 10"/>
            <p:cNvCxnSpPr>
              <a:cxnSpLocks/>
              <a:stCxn id="17" idx="6"/>
            </p:cNvCxnSpPr>
            <p:nvPr/>
          </p:nvCxnSpPr>
          <p:spPr bwMode="auto">
            <a:xfrm>
              <a:off x="1579047" y="2123353"/>
              <a:ext cx="7917378" cy="1"/>
            </a:xfrm>
            <a:prstGeom prst="line">
              <a:avLst/>
            </a:prstGeom>
            <a:solidFill>
              <a:schemeClr val="accent3">
                <a:alpha val="70000"/>
              </a:schemeClr>
            </a:solidFill>
            <a:ln w="0">
              <a:solidFill>
                <a:schemeClr val="accent3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260704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471" y="1585544"/>
            <a:ext cx="11267467" cy="46394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3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4774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tem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02F830E5-AF03-49D2-AD7A-193D64D9D5D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3072" y="1223905"/>
            <a:ext cx="2637442" cy="694267"/>
          </a:xfrm>
        </p:spPr>
        <p:txBody>
          <a:bodyPr/>
          <a:lstStyle>
            <a:lvl1pPr marL="0" indent="0" algn="l">
              <a:buNone/>
              <a:defRPr sz="4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27543A3D-DFCC-462D-B999-0EE12C20A91F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33073" y="1223905"/>
            <a:ext cx="2637442" cy="694267"/>
          </a:xfrm>
        </p:spPr>
        <p:txBody>
          <a:bodyPr/>
          <a:lstStyle>
            <a:lvl1pPr marL="0" indent="0" algn="l">
              <a:buNone/>
              <a:defRPr sz="4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3FC2069A-8835-486E-A458-AD69E5708EF8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3863" y="3802117"/>
            <a:ext cx="2637442" cy="694267"/>
          </a:xfrm>
        </p:spPr>
        <p:txBody>
          <a:bodyPr/>
          <a:lstStyle>
            <a:lvl1pPr marL="0" indent="0" algn="l">
              <a:buNone/>
              <a:defRPr sz="4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B30617AA-8AD0-4B14-A9A9-D052F40ACA6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33073" y="3802117"/>
            <a:ext cx="2637442" cy="694267"/>
          </a:xfrm>
        </p:spPr>
        <p:txBody>
          <a:bodyPr/>
          <a:lstStyle>
            <a:lvl1pPr marL="0" indent="0" algn="l">
              <a:buNone/>
              <a:defRPr sz="4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32E5AE39-31BD-47E9-800A-402361C1754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12284" y="1223905"/>
            <a:ext cx="2637442" cy="694267"/>
          </a:xfrm>
        </p:spPr>
        <p:txBody>
          <a:bodyPr/>
          <a:lstStyle>
            <a:lvl1pPr marL="0" indent="0" algn="l">
              <a:buNone/>
              <a:defRPr sz="4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BB50D5D7-3BDA-4E71-98C8-3873EB810359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212284" y="3802117"/>
            <a:ext cx="2637442" cy="694267"/>
          </a:xfrm>
        </p:spPr>
        <p:txBody>
          <a:bodyPr/>
          <a:lstStyle>
            <a:lvl1pPr marL="0" indent="0" algn="l">
              <a:buNone/>
              <a:defRPr sz="4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83B37535-3B2B-47E7-B0C3-8CF4C6B55DD4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12284" y="1977438"/>
            <a:ext cx="2637442" cy="1447797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A6934A4C-1D48-47BF-9239-BB8CE0F289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3073" y="1977438"/>
            <a:ext cx="2637442" cy="1447797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id="{0179C67F-AE67-4109-B93E-ECBFA8AE28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3072" y="1977438"/>
            <a:ext cx="2637442" cy="1447797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id="{E5A4F706-AF82-4A02-A3EB-2FE06A1DC4A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12284" y="4555415"/>
            <a:ext cx="2637442" cy="1506828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2" name="Text Placeholder 19">
            <a:extLst>
              <a:ext uri="{FF2B5EF4-FFF2-40B4-BE49-F238E27FC236}">
                <a16:creationId xmlns:a16="http://schemas.microsoft.com/office/drawing/2014/main" id="{9B59BAE5-7CD3-484F-BCBD-9AF8DCFF8E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33073" y="4555415"/>
            <a:ext cx="2637442" cy="1506828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id="{1E5C5656-E890-4468-A58C-9941FA79F48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3072" y="4555415"/>
            <a:ext cx="2637442" cy="1506828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987333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733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1"/>
            <a:ext cx="11285049" cy="4572000"/>
          </a:xfrm>
        </p:spPr>
        <p:txBody>
          <a:bodyPr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685800" marR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lang="en-US" sz="2200" b="1" kern="1200" noProof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422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E5BA3E-4B48-4638-9AFB-01BC825F5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7199" y="1325880"/>
            <a:ext cx="5879592" cy="1216152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985A8A5-B175-4063-BABC-65B691965E9B}"/>
              </a:ext>
            </a:extLst>
          </p:cNvPr>
          <p:cNvSpPr>
            <a:spLocks noGrp="1"/>
          </p:cNvSpPr>
          <p:nvPr>
            <p:ph type="body" idx="10"/>
          </p:nvPr>
        </p:nvSpPr>
        <p:spPr bwMode="white">
          <a:xfrm>
            <a:off x="457199" y="2578608"/>
            <a:ext cx="5879592" cy="38404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B4E76A25-6937-41EF-BF03-EEB326E211AE}"/>
              </a:ext>
            </a:extLst>
          </p:cNvPr>
          <p:cNvSpPr>
            <a:spLocks noEditPoints="1"/>
          </p:cNvSpPr>
          <p:nvPr/>
        </p:nvSpPr>
        <p:spPr bwMode="white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15FED2-94E1-4392-8872-C730B767C6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white">
          <a:xfrm>
            <a:off x="6800850" y="0"/>
            <a:ext cx="5391150" cy="6858000"/>
          </a:xfrm>
          <a:prstGeom prst="rect">
            <a:avLst/>
          </a:prstGeom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/>
        </p:nvSpPr>
        <p:spPr bwMode="white">
          <a:xfrm>
            <a:off x="45503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1EBE22-9072-4C69-A7DE-EF807BDA9EFE}"/>
              </a:ext>
            </a:extLst>
          </p:cNvPr>
          <p:cNvSpPr/>
          <p:nvPr/>
        </p:nvSpPr>
        <p:spPr bwMode="white"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accent4">
                    <a:lumMod val="40000"/>
                    <a:lumOff val="60000"/>
                  </a:schemeClr>
                </a:solidFill>
              </a:rPr>
              <a:t>©2018 Visa. All rights reserved.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61629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685800" marR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/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9C1736E-9D79-485F-9B7E-BA941FEEDD4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87212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Text,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3E39B-881C-4EA2-A6A7-D0ED8FB9AC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90" y="1524000"/>
            <a:ext cx="5543426" cy="4572000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654B0-6470-419F-AFA1-160E58F0AC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9092" y="1524000"/>
            <a:ext cx="5518638" cy="4572000"/>
          </a:xfrm>
        </p:spPr>
        <p:txBody>
          <a:bodyPr lIns="0" tIns="0" rIns="0" bIns="0" anchor="t"/>
          <a:lstStyle>
            <a:lvl1pPr algn="l">
              <a:defRPr sz="22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566CD36B-6184-4F23-BE01-4C197CE28BA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89" cy="381000"/>
          </a:xfrm>
        </p:spPr>
        <p:txBody>
          <a:bodyPr wrap="square"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 1">
            <a:extLst>
              <a:ext uri="{FF2B5EF4-FFF2-40B4-BE49-F238E27FC236}">
                <a16:creationId xmlns:a16="http://schemas.microsoft.com/office/drawing/2014/main" id="{673EBCE8-1EBD-4EC6-9C71-65DD4DE0C043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0FF0048-D4B0-4C51-A3F1-FC66BC592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50668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3E39B-881C-4EA2-A6A7-D0ED8FB9AC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89" y="1524000"/>
            <a:ext cx="3587440" cy="4457697"/>
          </a:xfrm>
          <a:ln>
            <a:noFill/>
          </a:ln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654B0-6470-419F-AFA1-160E58F0AC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0402" y="1524000"/>
            <a:ext cx="3574128" cy="4457697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A514BC3-74C8-4649-86F1-D328FFBF0E2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63602" y="1524000"/>
            <a:ext cx="3574128" cy="4457697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28B88886-1612-4DE1-AB7E-F47B7AEA2A2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868E6D57-4F2B-422D-8F24-F519815F656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B2A26AC-2D3F-4362-A128-935774A94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50142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3E39B-881C-4EA2-A6A7-D0ED8FB9AC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88" y="1524000"/>
            <a:ext cx="2651005" cy="4598377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654B0-6470-419F-AFA1-160E58F0AC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32667" y="1524000"/>
            <a:ext cx="2649033" cy="4598377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A514BC3-74C8-4649-86F1-D328FFBF0E2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10301" y="1524000"/>
            <a:ext cx="2649034" cy="4598377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FA8C1AED-7D8F-424A-88E3-967DD6E644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087934" y="1524000"/>
            <a:ext cx="2648214" cy="4598377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9FB0A0A5-470A-4B9B-AC66-6799D5B73D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8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ubtitle 1">
            <a:extLst>
              <a:ext uri="{FF2B5EF4-FFF2-40B4-BE49-F238E27FC236}">
                <a16:creationId xmlns:a16="http://schemas.microsoft.com/office/drawing/2014/main" id="{51AF0808-65A2-4F30-A5B3-1319E500FF5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3780649-8B79-431E-9204-B2B876F71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92002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 bwMode="ltGray">
          <a:xfrm>
            <a:off x="6096001" y="1524000"/>
            <a:ext cx="0" cy="441960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443889" y="1524000"/>
            <a:ext cx="5414658" cy="347472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dirty="0"/>
            </a:lvl1pPr>
          </a:lstStyle>
          <a:p>
            <a:pPr lvl="0"/>
            <a:r>
              <a:rPr lang="en-US"/>
              <a:t>Click icon to add picture</a:t>
            </a:r>
            <a:endParaRPr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443889" y="5105400"/>
            <a:ext cx="5411609" cy="838200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gray">
          <a:xfrm>
            <a:off x="6322311" y="1524000"/>
            <a:ext cx="5414658" cy="347472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dirty="0"/>
            </a:lvl1pPr>
          </a:lstStyle>
          <a:p>
            <a:pPr lvl="0"/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6325360" y="5105400"/>
            <a:ext cx="5411609" cy="838200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9718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ltGray">
          <a:xfrm>
            <a:off x="4136065" y="1524000"/>
            <a:ext cx="0" cy="441960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 bwMode="ltGray">
          <a:xfrm>
            <a:off x="8044792" y="1524000"/>
            <a:ext cx="0" cy="441960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443889" y="1524000"/>
            <a:ext cx="3475625" cy="304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dirty="0"/>
            </a:lvl1pPr>
          </a:lstStyle>
          <a:p>
            <a:pPr lvl="0"/>
            <a:r>
              <a:rPr lang="en-US"/>
              <a:t>Click icon to add picture</a:t>
            </a:r>
            <a:endParaRPr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/>
          </p:nvPr>
        </p:nvSpPr>
        <p:spPr>
          <a:xfrm>
            <a:off x="443889" y="4701396"/>
            <a:ext cx="3475625" cy="1242204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idx="15"/>
          </p:nvPr>
        </p:nvSpPr>
        <p:spPr bwMode="gray">
          <a:xfrm>
            <a:off x="4352616" y="1524000"/>
            <a:ext cx="3475625" cy="304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dirty="0"/>
            </a:lvl1pPr>
          </a:lstStyle>
          <a:p>
            <a:pPr lvl="0"/>
            <a:r>
              <a:rPr lang="en-US"/>
              <a:t>Click icon to add picture</a:t>
            </a:r>
            <a:endParaRPr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6"/>
          </p:nvPr>
        </p:nvSpPr>
        <p:spPr>
          <a:xfrm>
            <a:off x="4358187" y="4701396"/>
            <a:ext cx="3475625" cy="1242204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idx="17"/>
          </p:nvPr>
        </p:nvSpPr>
        <p:spPr bwMode="gray">
          <a:xfrm>
            <a:off x="8261344" y="1524000"/>
            <a:ext cx="3475625" cy="304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dirty="0"/>
            </a:lvl1pPr>
          </a:lstStyle>
          <a:p>
            <a:pPr lvl="0"/>
            <a:r>
              <a:rPr lang="en-US"/>
              <a:t>Click icon to add picture</a:t>
            </a:r>
            <a:endParaRPr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8"/>
          </p:nvPr>
        </p:nvSpPr>
        <p:spPr>
          <a:xfrm>
            <a:off x="8261344" y="4701396"/>
            <a:ext cx="3475625" cy="1242204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80819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101C85A-9321-48C8-B172-C539F4916C8A}"/>
              </a:ext>
            </a:extLst>
          </p:cNvPr>
          <p:cNvSpPr/>
          <p:nvPr userDrawn="1"/>
        </p:nvSpPr>
        <p:spPr bwMode="auto">
          <a:xfrm>
            <a:off x="450184" y="1524001"/>
            <a:ext cx="5535959" cy="457199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>
              <a:solidFill>
                <a:schemeClr val="lt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416032-F03A-46F6-9917-D68AE41110EF}"/>
              </a:ext>
            </a:extLst>
          </p:cNvPr>
          <p:cNvSpPr/>
          <p:nvPr userDrawn="1"/>
        </p:nvSpPr>
        <p:spPr bwMode="auto">
          <a:xfrm>
            <a:off x="6210639" y="1524001"/>
            <a:ext cx="5523134" cy="457199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>
              <a:solidFill>
                <a:schemeClr val="l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3E39B-881C-4EA2-A6A7-D0ED8FB9AC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89" y="1524001"/>
            <a:ext cx="5542255" cy="4571998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654B0-6470-419F-AFA1-160E58F0AC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0299" y="1524001"/>
            <a:ext cx="5523493" cy="4571998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566CD36B-6184-4F23-BE01-4C197CE28BA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70"/>
            <a:ext cx="10669589" cy="381000"/>
          </a:xfrm>
        </p:spPr>
        <p:txBody>
          <a:bodyPr wrap="square"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70FAC7E-4BDC-4B97-A402-9DE6F4544DA1}"/>
              </a:ext>
            </a:extLst>
          </p:cNvPr>
          <p:cNvCxnSpPr>
            <a:cxnSpLocks/>
          </p:cNvCxnSpPr>
          <p:nvPr userDrawn="1"/>
        </p:nvCxnSpPr>
        <p:spPr>
          <a:xfrm>
            <a:off x="443889" y="1524000"/>
            <a:ext cx="5542253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5FB8B2-7754-45A7-809B-326B69FE3D11}"/>
              </a:ext>
            </a:extLst>
          </p:cNvPr>
          <p:cNvCxnSpPr>
            <a:cxnSpLocks/>
          </p:cNvCxnSpPr>
          <p:nvPr userDrawn="1"/>
        </p:nvCxnSpPr>
        <p:spPr>
          <a:xfrm>
            <a:off x="6210636" y="1524000"/>
            <a:ext cx="5523136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Subtitle 1">
            <a:extLst>
              <a:ext uri="{FF2B5EF4-FFF2-40B4-BE49-F238E27FC236}">
                <a16:creationId xmlns:a16="http://schemas.microsoft.com/office/drawing/2014/main" id="{43E49E3B-34C7-4BC8-838B-E261E851111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4805EA-571F-4464-AC9F-9BD23A251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55791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A2C88E8-18DC-4761-8F2F-2ED56B0AF5AC}"/>
              </a:ext>
            </a:extLst>
          </p:cNvPr>
          <p:cNvSpPr/>
          <p:nvPr userDrawn="1"/>
        </p:nvSpPr>
        <p:spPr bwMode="auto">
          <a:xfrm>
            <a:off x="443896" y="1524000"/>
            <a:ext cx="3579528" cy="4689909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53A4CCF-6FDF-49E1-8B64-0A9A82ABA766}"/>
              </a:ext>
            </a:extLst>
          </p:cNvPr>
          <p:cNvSpPr/>
          <p:nvPr userDrawn="1"/>
        </p:nvSpPr>
        <p:spPr bwMode="auto">
          <a:xfrm>
            <a:off x="4315344" y="1524000"/>
            <a:ext cx="3566706" cy="4689909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14F3209-E1AB-41C9-B949-899E9A80F3AD}"/>
              </a:ext>
            </a:extLst>
          </p:cNvPr>
          <p:cNvSpPr/>
          <p:nvPr userDrawn="1"/>
        </p:nvSpPr>
        <p:spPr bwMode="auto">
          <a:xfrm>
            <a:off x="8163193" y="1524000"/>
            <a:ext cx="3566706" cy="4689909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3E39B-881C-4EA2-A6A7-D0ED8FB9AC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90" y="1524000"/>
            <a:ext cx="3560002" cy="4689909"/>
          </a:xfrm>
          <a:ln>
            <a:noFill/>
          </a:ln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654B0-6470-419F-AFA1-160E58F0AC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5967" y="1524000"/>
            <a:ext cx="3565395" cy="4689909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A514BC3-74C8-4649-86F1-D328FFBF0E2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62852" y="1524000"/>
            <a:ext cx="3565395" cy="4689909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28B88886-1612-4DE1-AB7E-F47B7AEA2A2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70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B405F54-ECF3-44FA-9028-B35D4F662318}"/>
              </a:ext>
            </a:extLst>
          </p:cNvPr>
          <p:cNvCxnSpPr>
            <a:cxnSpLocks/>
          </p:cNvCxnSpPr>
          <p:nvPr userDrawn="1"/>
        </p:nvCxnSpPr>
        <p:spPr>
          <a:xfrm>
            <a:off x="443896" y="1524000"/>
            <a:ext cx="357952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AC5BAEA-B46D-4B6A-BF46-4889E7652968}"/>
              </a:ext>
            </a:extLst>
          </p:cNvPr>
          <p:cNvCxnSpPr>
            <a:cxnSpLocks/>
          </p:cNvCxnSpPr>
          <p:nvPr userDrawn="1"/>
        </p:nvCxnSpPr>
        <p:spPr>
          <a:xfrm>
            <a:off x="4315343" y="1524000"/>
            <a:ext cx="356671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2B5F14F-AC3B-4CE7-915B-DDD7E91F36D2}"/>
              </a:ext>
            </a:extLst>
          </p:cNvPr>
          <p:cNvCxnSpPr>
            <a:cxnSpLocks/>
          </p:cNvCxnSpPr>
          <p:nvPr userDrawn="1"/>
        </p:nvCxnSpPr>
        <p:spPr>
          <a:xfrm>
            <a:off x="8163189" y="1524000"/>
            <a:ext cx="356671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Subtitle 1">
            <a:extLst>
              <a:ext uri="{FF2B5EF4-FFF2-40B4-BE49-F238E27FC236}">
                <a16:creationId xmlns:a16="http://schemas.microsoft.com/office/drawing/2014/main" id="{BE7923E5-BFFA-4831-867D-4B7AFBFF212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34431" y="6407557"/>
            <a:ext cx="7574729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F7D0FB-DDF1-46D5-918C-7A5C6A636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32177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567B6A9-12A4-4DC2-860F-79267DD84876}"/>
              </a:ext>
            </a:extLst>
          </p:cNvPr>
          <p:cNvSpPr/>
          <p:nvPr userDrawn="1"/>
        </p:nvSpPr>
        <p:spPr bwMode="auto">
          <a:xfrm>
            <a:off x="440891" y="1523998"/>
            <a:ext cx="2670723" cy="4689911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2AE05E0-07AB-4682-BE76-0ECAF80AFEDF}"/>
              </a:ext>
            </a:extLst>
          </p:cNvPr>
          <p:cNvSpPr/>
          <p:nvPr userDrawn="1"/>
        </p:nvSpPr>
        <p:spPr bwMode="auto">
          <a:xfrm>
            <a:off x="3332588" y="1523998"/>
            <a:ext cx="2643180" cy="4689911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5CC3E3B-ADF5-4D7B-9D0F-63B0A4AC0103}"/>
              </a:ext>
            </a:extLst>
          </p:cNvPr>
          <p:cNvSpPr/>
          <p:nvPr userDrawn="1"/>
        </p:nvSpPr>
        <p:spPr bwMode="auto">
          <a:xfrm>
            <a:off x="6208972" y="1523998"/>
            <a:ext cx="2650361" cy="4689911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AC3C08-B548-42DF-AA58-B37D2E116241}"/>
              </a:ext>
            </a:extLst>
          </p:cNvPr>
          <p:cNvSpPr/>
          <p:nvPr userDrawn="1"/>
        </p:nvSpPr>
        <p:spPr bwMode="auto">
          <a:xfrm>
            <a:off x="9095819" y="1523998"/>
            <a:ext cx="2638039" cy="4689911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3E39B-881C-4EA2-A6A7-D0ED8FB9AC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301" y="1524000"/>
            <a:ext cx="2669386" cy="4689909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654B0-6470-419F-AFA1-160E58F0AC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32666" y="1524000"/>
            <a:ext cx="2641856" cy="4689909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A514BC3-74C8-4649-86F1-D328FFBF0E2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10300" y="1524000"/>
            <a:ext cx="2649034" cy="4689909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FA8C1AED-7D8F-424A-88E3-967DD6E6449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095554" y="1524000"/>
            <a:ext cx="2636718" cy="4689909"/>
          </a:xfrm>
        </p:spPr>
        <p:txBody>
          <a:bodyPr lIns="182880" tIns="182880" rIns="182880" bIns="18288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9FB0A0A5-470A-4B9B-AC66-6799D5B73D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2301" y="949570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B978EC-D8E2-4329-AA77-F13B3F4525DF}"/>
              </a:ext>
            </a:extLst>
          </p:cNvPr>
          <p:cNvCxnSpPr>
            <a:cxnSpLocks/>
          </p:cNvCxnSpPr>
          <p:nvPr userDrawn="1"/>
        </p:nvCxnSpPr>
        <p:spPr>
          <a:xfrm>
            <a:off x="440885" y="1524000"/>
            <a:ext cx="2670729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F7CD988-BD03-4CF5-8C1E-F20FA77C5884}"/>
              </a:ext>
            </a:extLst>
          </p:cNvPr>
          <p:cNvCxnSpPr>
            <a:cxnSpLocks/>
          </p:cNvCxnSpPr>
          <p:nvPr userDrawn="1"/>
        </p:nvCxnSpPr>
        <p:spPr>
          <a:xfrm>
            <a:off x="3331337" y="1524000"/>
            <a:ext cx="264318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D3390A3-0F6E-4B98-BC8B-CA829E01BDF8}"/>
              </a:ext>
            </a:extLst>
          </p:cNvPr>
          <p:cNvCxnSpPr>
            <a:cxnSpLocks/>
          </p:cNvCxnSpPr>
          <p:nvPr userDrawn="1"/>
        </p:nvCxnSpPr>
        <p:spPr>
          <a:xfrm>
            <a:off x="6208967" y="1524000"/>
            <a:ext cx="2650367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5A0EA78-33DF-4E5D-9449-3CACDE6093C2}"/>
              </a:ext>
            </a:extLst>
          </p:cNvPr>
          <p:cNvCxnSpPr>
            <a:cxnSpLocks/>
          </p:cNvCxnSpPr>
          <p:nvPr userDrawn="1"/>
        </p:nvCxnSpPr>
        <p:spPr>
          <a:xfrm>
            <a:off x="9094227" y="1524000"/>
            <a:ext cx="263804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9" name="Subtitle 1">
            <a:extLst>
              <a:ext uri="{FF2B5EF4-FFF2-40B4-BE49-F238E27FC236}">
                <a16:creationId xmlns:a16="http://schemas.microsoft.com/office/drawing/2014/main" id="{F03009F9-2758-47DD-AA2C-EC307085162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35ED78-9C4E-4471-876C-A07C98C46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68026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">
            <a:extLst>
              <a:ext uri="{FF2B5EF4-FFF2-40B4-BE49-F238E27FC236}">
                <a16:creationId xmlns:a16="http://schemas.microsoft.com/office/drawing/2014/main" id="{1D04F47F-6AD8-47C6-A83F-59FF551F0F7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3889307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E5BA3E-4B48-4638-9AFB-01BC825F5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7200" y="1325880"/>
            <a:ext cx="5879592" cy="1216152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985A8A5-B175-4063-BABC-65B691965E9B}"/>
              </a:ext>
            </a:extLst>
          </p:cNvPr>
          <p:cNvSpPr>
            <a:spLocks noGrp="1"/>
          </p:cNvSpPr>
          <p:nvPr>
            <p:ph type="body" idx="10"/>
          </p:nvPr>
        </p:nvSpPr>
        <p:spPr bwMode="white">
          <a:xfrm>
            <a:off x="457200" y="2578608"/>
            <a:ext cx="5879592" cy="38404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781E4BAD-30AB-4054-BBE1-F491A48FB730}"/>
              </a:ext>
            </a:extLst>
          </p:cNvPr>
          <p:cNvSpPr>
            <a:spLocks noEditPoints="1"/>
          </p:cNvSpPr>
          <p:nvPr/>
        </p:nvSpPr>
        <p:spPr bwMode="white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BE03792-345A-43ED-9F29-50BA0F7869F7}"/>
              </a:ext>
            </a:extLst>
          </p:cNvPr>
          <p:cNvPicPr>
            <a:picLocks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081" t="52964" r="6630"/>
          <a:stretch/>
        </p:blipFill>
        <p:spPr bwMode="white">
          <a:xfrm>
            <a:off x="6362700" y="0"/>
            <a:ext cx="5829300" cy="5982688"/>
          </a:xfrm>
          <a:prstGeom prst="rect">
            <a:avLst/>
          </a:prstGeom>
        </p:spPr>
      </p:pic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/>
        </p:nvSpPr>
        <p:spPr bwMode="white">
          <a:xfrm>
            <a:off x="45503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1EBE22-9072-4C69-A7DE-EF807BDA9EFE}"/>
              </a:ext>
            </a:extLst>
          </p:cNvPr>
          <p:cNvSpPr/>
          <p:nvPr/>
        </p:nvSpPr>
        <p:spPr bwMode="white"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accent4">
                    <a:lumMod val="40000"/>
                    <a:lumOff val="60000"/>
                  </a:schemeClr>
                </a:solidFill>
              </a:rPr>
              <a:t>©2018 Visa. All rights reserved.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4406311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BC87A-28E5-4CDF-A335-2D2700A4DF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90" y="1524000"/>
            <a:ext cx="5537810" cy="45720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7B2D7623-82D6-46A2-B453-FC8BADA2771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3631"/>
            <a:ext cx="5537811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F4615F32-D813-4AA8-AFF0-FBE56A9BF9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1F9E24-90C4-4370-A671-DD28EB0A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553781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6D6CB87-C154-4E69-B8D2-1BE9D350D77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10301" y="381001"/>
            <a:ext cx="5526668" cy="5715000"/>
          </a:xfrm>
          <a:solidFill>
            <a:schemeClr val="tx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766920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Right Photo 2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BC87A-28E5-4CDF-A335-2D2700A4DF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89" y="1524001"/>
            <a:ext cx="5537811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ubtitle 1">
            <a:extLst>
              <a:ext uri="{FF2B5EF4-FFF2-40B4-BE49-F238E27FC236}">
                <a16:creationId xmlns:a16="http://schemas.microsoft.com/office/drawing/2014/main" id="{921A0781-AD68-4DFA-9FE2-D222146896E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5172D3-E324-4A9A-8C67-33618BD8D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553781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B7742A11-4753-4DF3-ADC6-B0FAD0FC6A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10301" y="381000"/>
            <a:ext cx="5526668" cy="2905125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8EFAA5C9-FF5C-4E6E-8730-A24B474FEC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10301" y="3457575"/>
            <a:ext cx="5526668" cy="2638425"/>
          </a:xfrm>
          <a:solidFill>
            <a:schemeClr val="tx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307432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head, Bullets and Full Phot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E7FB59-7241-4F23-80E0-B539D85A41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89" y="1524001"/>
            <a:ext cx="11289903" cy="457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ubtitle 1">
            <a:extLst>
              <a:ext uri="{FF2B5EF4-FFF2-40B4-BE49-F238E27FC236}">
                <a16:creationId xmlns:a16="http://schemas.microsoft.com/office/drawing/2014/main" id="{8E6AC793-7E15-4470-BA8B-48CB8082C86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2500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4E6E6F73-0ABE-452D-ABE2-A70D5982FD7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CE0F37-BC94-4148-B4C5-233992653A51}"/>
              </a:ext>
            </a:extLst>
          </p:cNvPr>
          <p:cNvSpPr/>
          <p:nvPr userDrawn="1"/>
        </p:nvSpPr>
        <p:spPr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accent3"/>
                </a:solidFill>
              </a:rPr>
              <a:t>©2018 Visa. All rights reserved. Visa confidential</a:t>
            </a:r>
          </a:p>
        </p:txBody>
      </p:sp>
      <p:sp>
        <p:nvSpPr>
          <p:cNvPr id="17" name="Subtitle 1">
            <a:extLst>
              <a:ext uri="{FF2B5EF4-FFF2-40B4-BE49-F238E27FC236}">
                <a16:creationId xmlns:a16="http://schemas.microsoft.com/office/drawing/2014/main" id="{34A6C5BE-13D9-460F-9E2E-78DAABFB5C2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E80872-D7F5-474F-B163-89A622372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EC7EE1D-B46F-4244-8FD3-F0C9DAAAD745}"/>
              </a:ext>
            </a:extLst>
          </p:cNvPr>
          <p:cNvSpPr txBox="1">
            <a:spLocks/>
          </p:cNvSpPr>
          <p:nvPr userDrawn="1"/>
        </p:nvSpPr>
        <p:spPr>
          <a:xfrm>
            <a:off x="454219" y="6311741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bg2">
                    <a:lumMod val="75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199595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4FEFBD-DCC2-4275-B80C-667DA9EC9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4961" y="1143000"/>
            <a:ext cx="9022080" cy="3163892"/>
          </a:xfrm>
        </p:spPr>
        <p:txBody>
          <a:bodyPr anchor="b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47076A-408F-4112-B7BB-05EAEC61A4D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584959" y="4737102"/>
            <a:ext cx="6289039" cy="330196"/>
          </a:xfrm>
        </p:spPr>
        <p:txBody>
          <a:bodyPr anchor="t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1"/>
            <a:r>
              <a:rPr lang="en-US"/>
              <a:t>Second level</a:t>
            </a:r>
          </a:p>
        </p:txBody>
      </p:sp>
      <p:sp>
        <p:nvSpPr>
          <p:cNvPr id="45" name="Subtitle 1">
            <a:extLst>
              <a:ext uri="{FF2B5EF4-FFF2-40B4-BE49-F238E27FC236}">
                <a16:creationId xmlns:a16="http://schemas.microsoft.com/office/drawing/2014/main" id="{49F25AEF-6544-42CB-A543-B6858E0EC6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22BD154-4ED6-49BE-8144-5028C3310C16}"/>
              </a:ext>
            </a:extLst>
          </p:cNvPr>
          <p:cNvGrpSpPr/>
          <p:nvPr userDrawn="1"/>
        </p:nvGrpSpPr>
        <p:grpSpPr>
          <a:xfrm>
            <a:off x="683094" y="1437285"/>
            <a:ext cx="665169" cy="535375"/>
            <a:chOff x="3814503" y="701634"/>
            <a:chExt cx="655119" cy="527284"/>
          </a:xfrm>
          <a:solidFill>
            <a:schemeClr val="accent4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192AA70-4447-44BB-BFAB-C38103100E33}"/>
                </a:ext>
              </a:extLst>
            </p:cNvPr>
            <p:cNvSpPr/>
            <p:nvPr userDrawn="1"/>
          </p:nvSpPr>
          <p:spPr>
            <a:xfrm>
              <a:off x="3814503" y="701634"/>
              <a:ext cx="327883" cy="527284"/>
            </a:xfrm>
            <a:custGeom>
              <a:avLst/>
              <a:gdLst/>
              <a:ahLst/>
              <a:cxnLst/>
              <a:rect l="l" t="t" r="r" b="b"/>
              <a:pathLst>
                <a:path w="327883" h="527284">
                  <a:moveTo>
                    <a:pt x="278546" y="0"/>
                  </a:moveTo>
                  <a:cubicBezTo>
                    <a:pt x="289510" y="0"/>
                    <a:pt x="298589" y="514"/>
                    <a:pt x="305784" y="1542"/>
                  </a:cubicBezTo>
                  <a:cubicBezTo>
                    <a:pt x="312979" y="2570"/>
                    <a:pt x="318461" y="4283"/>
                    <a:pt x="322230" y="6681"/>
                  </a:cubicBezTo>
                  <a:cubicBezTo>
                    <a:pt x="325998" y="9079"/>
                    <a:pt x="327883" y="12334"/>
                    <a:pt x="327883" y="16446"/>
                  </a:cubicBezTo>
                  <a:cubicBezTo>
                    <a:pt x="327883" y="20557"/>
                    <a:pt x="326512" y="25353"/>
                    <a:pt x="323771" y="30835"/>
                  </a:cubicBezTo>
                  <a:lnTo>
                    <a:pt x="189124" y="313493"/>
                  </a:lnTo>
                  <a:lnTo>
                    <a:pt x="189124" y="443001"/>
                  </a:lnTo>
                  <a:cubicBezTo>
                    <a:pt x="189124" y="460817"/>
                    <a:pt x="187239" y="475207"/>
                    <a:pt x="183471" y="486170"/>
                  </a:cubicBezTo>
                  <a:cubicBezTo>
                    <a:pt x="179702" y="497134"/>
                    <a:pt x="173877" y="505700"/>
                    <a:pt x="165997" y="511867"/>
                  </a:cubicBezTo>
                  <a:cubicBezTo>
                    <a:pt x="158117" y="518034"/>
                    <a:pt x="148181" y="522145"/>
                    <a:pt x="136190" y="524201"/>
                  </a:cubicBezTo>
                  <a:cubicBezTo>
                    <a:pt x="124198" y="526256"/>
                    <a:pt x="109980" y="527284"/>
                    <a:pt x="93534" y="527284"/>
                  </a:cubicBezTo>
                  <a:cubicBezTo>
                    <a:pt x="77089" y="527284"/>
                    <a:pt x="63042" y="526256"/>
                    <a:pt x="51393" y="524201"/>
                  </a:cubicBezTo>
                  <a:cubicBezTo>
                    <a:pt x="39744" y="522145"/>
                    <a:pt x="30151" y="518034"/>
                    <a:pt x="22613" y="511867"/>
                  </a:cubicBezTo>
                  <a:cubicBezTo>
                    <a:pt x="15076" y="505700"/>
                    <a:pt x="9422" y="497134"/>
                    <a:pt x="5654" y="486170"/>
                  </a:cubicBezTo>
                  <a:cubicBezTo>
                    <a:pt x="1885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4" y="385956"/>
                  </a:cubicBezTo>
                  <a:cubicBezTo>
                    <a:pt x="5140" y="368482"/>
                    <a:pt x="8395" y="351866"/>
                    <a:pt x="12849" y="336105"/>
                  </a:cubicBezTo>
                  <a:cubicBezTo>
                    <a:pt x="17303" y="320345"/>
                    <a:pt x="23470" y="304756"/>
                    <a:pt x="31350" y="289338"/>
                  </a:cubicBezTo>
                  <a:cubicBezTo>
                    <a:pt x="39230" y="273921"/>
                    <a:pt x="48652" y="257646"/>
                    <a:pt x="59615" y="240516"/>
                  </a:cubicBezTo>
                  <a:lnTo>
                    <a:pt x="198374" y="29808"/>
                  </a:lnTo>
                  <a:cubicBezTo>
                    <a:pt x="201801" y="24326"/>
                    <a:pt x="205569" y="19872"/>
                    <a:pt x="209681" y="16446"/>
                  </a:cubicBezTo>
                  <a:cubicBezTo>
                    <a:pt x="213792" y="13019"/>
                    <a:pt x="218931" y="10107"/>
                    <a:pt x="225098" y="7709"/>
                  </a:cubicBezTo>
                  <a:cubicBezTo>
                    <a:pt x="231265" y="5311"/>
                    <a:pt x="238632" y="3426"/>
                    <a:pt x="247197" y="2056"/>
                  </a:cubicBezTo>
                  <a:cubicBezTo>
                    <a:pt x="255762" y="685"/>
                    <a:pt x="266212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23A1BEE-771C-45BD-89DA-51547CA07F02}"/>
                </a:ext>
              </a:extLst>
            </p:cNvPr>
            <p:cNvSpPr/>
            <p:nvPr userDrawn="1"/>
          </p:nvSpPr>
          <p:spPr>
            <a:xfrm>
              <a:off x="4141180" y="701634"/>
              <a:ext cx="328442" cy="527284"/>
            </a:xfrm>
            <a:custGeom>
              <a:avLst/>
              <a:gdLst/>
              <a:ahLst/>
              <a:cxnLst/>
              <a:rect l="l" t="t" r="r" b="b"/>
              <a:pathLst>
                <a:path w="328442" h="527284">
                  <a:moveTo>
                    <a:pt x="278546" y="0"/>
                  </a:moveTo>
                  <a:cubicBezTo>
                    <a:pt x="289509" y="0"/>
                    <a:pt x="298760" y="514"/>
                    <a:pt x="306297" y="1542"/>
                  </a:cubicBezTo>
                  <a:cubicBezTo>
                    <a:pt x="313835" y="2570"/>
                    <a:pt x="319317" y="4283"/>
                    <a:pt x="322743" y="6681"/>
                  </a:cubicBezTo>
                  <a:cubicBezTo>
                    <a:pt x="326169" y="9079"/>
                    <a:pt x="328053" y="12334"/>
                    <a:pt x="328396" y="16446"/>
                  </a:cubicBezTo>
                  <a:cubicBezTo>
                    <a:pt x="328739" y="20557"/>
                    <a:pt x="327197" y="25353"/>
                    <a:pt x="323771" y="30835"/>
                  </a:cubicBezTo>
                  <a:lnTo>
                    <a:pt x="189123" y="313493"/>
                  </a:lnTo>
                  <a:lnTo>
                    <a:pt x="189123" y="443001"/>
                  </a:lnTo>
                  <a:cubicBezTo>
                    <a:pt x="189123" y="460817"/>
                    <a:pt x="187239" y="475207"/>
                    <a:pt x="183470" y="486170"/>
                  </a:cubicBezTo>
                  <a:cubicBezTo>
                    <a:pt x="179701" y="497134"/>
                    <a:pt x="173877" y="505700"/>
                    <a:pt x="165997" y="511867"/>
                  </a:cubicBezTo>
                  <a:cubicBezTo>
                    <a:pt x="158116" y="518034"/>
                    <a:pt x="148181" y="522145"/>
                    <a:pt x="136189" y="524201"/>
                  </a:cubicBezTo>
                  <a:cubicBezTo>
                    <a:pt x="124198" y="526256"/>
                    <a:pt x="109979" y="527284"/>
                    <a:pt x="93534" y="527284"/>
                  </a:cubicBezTo>
                  <a:cubicBezTo>
                    <a:pt x="77088" y="527284"/>
                    <a:pt x="63041" y="526256"/>
                    <a:pt x="51392" y="524201"/>
                  </a:cubicBezTo>
                  <a:cubicBezTo>
                    <a:pt x="39743" y="522145"/>
                    <a:pt x="30150" y="518034"/>
                    <a:pt x="22612" y="511867"/>
                  </a:cubicBezTo>
                  <a:cubicBezTo>
                    <a:pt x="15075" y="505700"/>
                    <a:pt x="9422" y="497134"/>
                    <a:pt x="5653" y="486170"/>
                  </a:cubicBezTo>
                  <a:cubicBezTo>
                    <a:pt x="1884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3" y="385956"/>
                  </a:cubicBezTo>
                  <a:cubicBezTo>
                    <a:pt x="5139" y="368482"/>
                    <a:pt x="8394" y="351866"/>
                    <a:pt x="12848" y="336105"/>
                  </a:cubicBezTo>
                  <a:cubicBezTo>
                    <a:pt x="17302" y="320345"/>
                    <a:pt x="23469" y="304756"/>
                    <a:pt x="31349" y="289338"/>
                  </a:cubicBezTo>
                  <a:cubicBezTo>
                    <a:pt x="39229" y="273921"/>
                    <a:pt x="48651" y="257646"/>
                    <a:pt x="59615" y="240516"/>
                  </a:cubicBezTo>
                  <a:lnTo>
                    <a:pt x="198374" y="29808"/>
                  </a:lnTo>
                  <a:cubicBezTo>
                    <a:pt x="201800" y="24326"/>
                    <a:pt x="205569" y="19872"/>
                    <a:pt x="209680" y="16446"/>
                  </a:cubicBezTo>
                  <a:cubicBezTo>
                    <a:pt x="213791" y="13019"/>
                    <a:pt x="218931" y="10107"/>
                    <a:pt x="225098" y="7709"/>
                  </a:cubicBezTo>
                  <a:cubicBezTo>
                    <a:pt x="231265" y="5311"/>
                    <a:pt x="238631" y="3426"/>
                    <a:pt x="247196" y="2056"/>
                  </a:cubicBezTo>
                  <a:cubicBezTo>
                    <a:pt x="255762" y="685"/>
                    <a:pt x="266211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25454349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gradFill flip="none" rotWithShape="1">
          <a:gsLst>
            <a:gs pos="0">
              <a:schemeClr val="accent1"/>
            </a:gs>
            <a:gs pos="10000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4FEFBD-DCC2-4275-B80C-667DA9EC9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4961" y="1143000"/>
            <a:ext cx="9022080" cy="3163892"/>
          </a:xfrm>
        </p:spPr>
        <p:txBody>
          <a:bodyPr anchor="b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47076A-408F-4112-B7BB-05EAEC61A4D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584959" y="4737102"/>
            <a:ext cx="6289039" cy="330196"/>
          </a:xfrm>
        </p:spPr>
        <p:txBody>
          <a:bodyPr anchor="t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1"/>
            <a:r>
              <a:rPr lang="en-US"/>
              <a:t>Second level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22BD154-4ED6-49BE-8144-5028C3310C16}"/>
              </a:ext>
            </a:extLst>
          </p:cNvPr>
          <p:cNvGrpSpPr/>
          <p:nvPr userDrawn="1"/>
        </p:nvGrpSpPr>
        <p:grpSpPr>
          <a:xfrm>
            <a:off x="646882" y="1437285"/>
            <a:ext cx="665169" cy="535375"/>
            <a:chOff x="3814503" y="701634"/>
            <a:chExt cx="655119" cy="527284"/>
          </a:xfrm>
          <a:solidFill>
            <a:schemeClr val="accent2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192AA70-4447-44BB-BFAB-C38103100E33}"/>
                </a:ext>
              </a:extLst>
            </p:cNvPr>
            <p:cNvSpPr/>
            <p:nvPr userDrawn="1"/>
          </p:nvSpPr>
          <p:spPr>
            <a:xfrm>
              <a:off x="3814503" y="701634"/>
              <a:ext cx="327883" cy="527284"/>
            </a:xfrm>
            <a:custGeom>
              <a:avLst/>
              <a:gdLst/>
              <a:ahLst/>
              <a:cxnLst/>
              <a:rect l="l" t="t" r="r" b="b"/>
              <a:pathLst>
                <a:path w="327883" h="527284">
                  <a:moveTo>
                    <a:pt x="278546" y="0"/>
                  </a:moveTo>
                  <a:cubicBezTo>
                    <a:pt x="289510" y="0"/>
                    <a:pt x="298589" y="514"/>
                    <a:pt x="305784" y="1542"/>
                  </a:cubicBezTo>
                  <a:cubicBezTo>
                    <a:pt x="312979" y="2570"/>
                    <a:pt x="318461" y="4283"/>
                    <a:pt x="322230" y="6681"/>
                  </a:cubicBezTo>
                  <a:cubicBezTo>
                    <a:pt x="325998" y="9079"/>
                    <a:pt x="327883" y="12334"/>
                    <a:pt x="327883" y="16446"/>
                  </a:cubicBezTo>
                  <a:cubicBezTo>
                    <a:pt x="327883" y="20557"/>
                    <a:pt x="326512" y="25353"/>
                    <a:pt x="323771" y="30835"/>
                  </a:cubicBezTo>
                  <a:lnTo>
                    <a:pt x="189124" y="313493"/>
                  </a:lnTo>
                  <a:lnTo>
                    <a:pt x="189124" y="443001"/>
                  </a:lnTo>
                  <a:cubicBezTo>
                    <a:pt x="189124" y="460817"/>
                    <a:pt x="187239" y="475207"/>
                    <a:pt x="183471" y="486170"/>
                  </a:cubicBezTo>
                  <a:cubicBezTo>
                    <a:pt x="179702" y="497134"/>
                    <a:pt x="173877" y="505700"/>
                    <a:pt x="165997" y="511867"/>
                  </a:cubicBezTo>
                  <a:cubicBezTo>
                    <a:pt x="158117" y="518034"/>
                    <a:pt x="148181" y="522145"/>
                    <a:pt x="136190" y="524201"/>
                  </a:cubicBezTo>
                  <a:cubicBezTo>
                    <a:pt x="124198" y="526256"/>
                    <a:pt x="109980" y="527284"/>
                    <a:pt x="93534" y="527284"/>
                  </a:cubicBezTo>
                  <a:cubicBezTo>
                    <a:pt x="77089" y="527284"/>
                    <a:pt x="63042" y="526256"/>
                    <a:pt x="51393" y="524201"/>
                  </a:cubicBezTo>
                  <a:cubicBezTo>
                    <a:pt x="39744" y="522145"/>
                    <a:pt x="30151" y="518034"/>
                    <a:pt x="22613" y="511867"/>
                  </a:cubicBezTo>
                  <a:cubicBezTo>
                    <a:pt x="15076" y="505700"/>
                    <a:pt x="9422" y="497134"/>
                    <a:pt x="5654" y="486170"/>
                  </a:cubicBezTo>
                  <a:cubicBezTo>
                    <a:pt x="1885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4" y="385956"/>
                  </a:cubicBezTo>
                  <a:cubicBezTo>
                    <a:pt x="5140" y="368482"/>
                    <a:pt x="8395" y="351866"/>
                    <a:pt x="12849" y="336105"/>
                  </a:cubicBezTo>
                  <a:cubicBezTo>
                    <a:pt x="17303" y="320345"/>
                    <a:pt x="23470" y="304756"/>
                    <a:pt x="31350" y="289338"/>
                  </a:cubicBezTo>
                  <a:cubicBezTo>
                    <a:pt x="39230" y="273921"/>
                    <a:pt x="48652" y="257646"/>
                    <a:pt x="59615" y="240516"/>
                  </a:cubicBezTo>
                  <a:lnTo>
                    <a:pt x="198374" y="29808"/>
                  </a:lnTo>
                  <a:cubicBezTo>
                    <a:pt x="201801" y="24326"/>
                    <a:pt x="205569" y="19872"/>
                    <a:pt x="209681" y="16446"/>
                  </a:cubicBezTo>
                  <a:cubicBezTo>
                    <a:pt x="213792" y="13019"/>
                    <a:pt x="218931" y="10107"/>
                    <a:pt x="225098" y="7709"/>
                  </a:cubicBezTo>
                  <a:cubicBezTo>
                    <a:pt x="231265" y="5311"/>
                    <a:pt x="238632" y="3426"/>
                    <a:pt x="247197" y="2056"/>
                  </a:cubicBezTo>
                  <a:cubicBezTo>
                    <a:pt x="255762" y="685"/>
                    <a:pt x="266212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FF0000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23A1BEE-771C-45BD-89DA-51547CA07F02}"/>
                </a:ext>
              </a:extLst>
            </p:cNvPr>
            <p:cNvSpPr/>
            <p:nvPr userDrawn="1"/>
          </p:nvSpPr>
          <p:spPr>
            <a:xfrm>
              <a:off x="4141180" y="701634"/>
              <a:ext cx="328442" cy="527284"/>
            </a:xfrm>
            <a:custGeom>
              <a:avLst/>
              <a:gdLst/>
              <a:ahLst/>
              <a:cxnLst/>
              <a:rect l="l" t="t" r="r" b="b"/>
              <a:pathLst>
                <a:path w="328442" h="527284">
                  <a:moveTo>
                    <a:pt x="278546" y="0"/>
                  </a:moveTo>
                  <a:cubicBezTo>
                    <a:pt x="289509" y="0"/>
                    <a:pt x="298760" y="514"/>
                    <a:pt x="306297" y="1542"/>
                  </a:cubicBezTo>
                  <a:cubicBezTo>
                    <a:pt x="313835" y="2570"/>
                    <a:pt x="319317" y="4283"/>
                    <a:pt x="322743" y="6681"/>
                  </a:cubicBezTo>
                  <a:cubicBezTo>
                    <a:pt x="326169" y="9079"/>
                    <a:pt x="328053" y="12334"/>
                    <a:pt x="328396" y="16446"/>
                  </a:cubicBezTo>
                  <a:cubicBezTo>
                    <a:pt x="328739" y="20557"/>
                    <a:pt x="327197" y="25353"/>
                    <a:pt x="323771" y="30835"/>
                  </a:cubicBezTo>
                  <a:lnTo>
                    <a:pt x="189123" y="313493"/>
                  </a:lnTo>
                  <a:lnTo>
                    <a:pt x="189123" y="443001"/>
                  </a:lnTo>
                  <a:cubicBezTo>
                    <a:pt x="189123" y="460817"/>
                    <a:pt x="187239" y="475207"/>
                    <a:pt x="183470" y="486170"/>
                  </a:cubicBezTo>
                  <a:cubicBezTo>
                    <a:pt x="179701" y="497134"/>
                    <a:pt x="173877" y="505700"/>
                    <a:pt x="165997" y="511867"/>
                  </a:cubicBezTo>
                  <a:cubicBezTo>
                    <a:pt x="158116" y="518034"/>
                    <a:pt x="148181" y="522145"/>
                    <a:pt x="136189" y="524201"/>
                  </a:cubicBezTo>
                  <a:cubicBezTo>
                    <a:pt x="124198" y="526256"/>
                    <a:pt x="109979" y="527284"/>
                    <a:pt x="93534" y="527284"/>
                  </a:cubicBezTo>
                  <a:cubicBezTo>
                    <a:pt x="77088" y="527284"/>
                    <a:pt x="63041" y="526256"/>
                    <a:pt x="51392" y="524201"/>
                  </a:cubicBezTo>
                  <a:cubicBezTo>
                    <a:pt x="39743" y="522145"/>
                    <a:pt x="30150" y="518034"/>
                    <a:pt x="22612" y="511867"/>
                  </a:cubicBezTo>
                  <a:cubicBezTo>
                    <a:pt x="15075" y="505700"/>
                    <a:pt x="9422" y="497134"/>
                    <a:pt x="5653" y="486170"/>
                  </a:cubicBezTo>
                  <a:cubicBezTo>
                    <a:pt x="1884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3" y="385956"/>
                  </a:cubicBezTo>
                  <a:cubicBezTo>
                    <a:pt x="5139" y="368482"/>
                    <a:pt x="8394" y="351866"/>
                    <a:pt x="12848" y="336105"/>
                  </a:cubicBezTo>
                  <a:cubicBezTo>
                    <a:pt x="17302" y="320345"/>
                    <a:pt x="23469" y="304756"/>
                    <a:pt x="31349" y="289338"/>
                  </a:cubicBezTo>
                  <a:cubicBezTo>
                    <a:pt x="39229" y="273921"/>
                    <a:pt x="48651" y="257646"/>
                    <a:pt x="59615" y="240516"/>
                  </a:cubicBezTo>
                  <a:lnTo>
                    <a:pt x="198374" y="29808"/>
                  </a:lnTo>
                  <a:cubicBezTo>
                    <a:pt x="201800" y="24326"/>
                    <a:pt x="205569" y="19872"/>
                    <a:pt x="209680" y="16446"/>
                  </a:cubicBezTo>
                  <a:cubicBezTo>
                    <a:pt x="213791" y="13019"/>
                    <a:pt x="218931" y="10107"/>
                    <a:pt x="225098" y="7709"/>
                  </a:cubicBezTo>
                  <a:cubicBezTo>
                    <a:pt x="231265" y="5311"/>
                    <a:pt x="238631" y="3426"/>
                    <a:pt x="247196" y="2056"/>
                  </a:cubicBezTo>
                  <a:cubicBezTo>
                    <a:pt x="255762" y="685"/>
                    <a:pt x="266211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FF0000"/>
                </a:solidFill>
              </a:endParaRPr>
            </a:p>
          </p:txBody>
        </p:sp>
      </p:grpSp>
      <p:sp>
        <p:nvSpPr>
          <p:cNvPr id="11" name="Freeform 5">
            <a:extLst>
              <a:ext uri="{FF2B5EF4-FFF2-40B4-BE49-F238E27FC236}">
                <a16:creationId xmlns:a16="http://schemas.microsoft.com/office/drawing/2014/main" id="{98B091F3-7EC7-4951-ACCE-9838A22C5D6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B284A7-01E8-4058-932A-15271654A1B7}"/>
              </a:ext>
            </a:extLst>
          </p:cNvPr>
          <p:cNvSpPr/>
          <p:nvPr userDrawn="1"/>
        </p:nvSpPr>
        <p:spPr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accent4">
                    <a:lumMod val="40000"/>
                    <a:lumOff val="60000"/>
                  </a:schemeClr>
                </a:solidFill>
              </a:rPr>
              <a:t>©2018 Visa. All rights reserved. Visa confidential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2DBD0450-BDDE-4377-9123-A0FB98AB9D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 userDrawn="1"/>
        </p:nvSpPr>
        <p:spPr>
          <a:xfrm>
            <a:off x="45503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pPr/>
              <a:t>‹#›</a:t>
            </a:fld>
            <a:endParaRPr lang="en-US" sz="80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1791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gradFill>
          <a:gsLst>
            <a:gs pos="0">
              <a:srgbClr val="FA9B00"/>
            </a:gs>
            <a:gs pos="100000">
              <a:srgbClr val="F4CA1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4FEFBD-DCC2-4275-B80C-667DA9EC91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84961" y="1143000"/>
            <a:ext cx="9022080" cy="3163892"/>
          </a:xfrm>
        </p:spPr>
        <p:txBody>
          <a:bodyPr anchor="b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2"/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47076A-408F-4112-B7BB-05EAEC61A4D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584959" y="4737102"/>
            <a:ext cx="6289039" cy="330196"/>
          </a:xfrm>
        </p:spPr>
        <p:txBody>
          <a:bodyPr anchor="t"/>
          <a:lstStyle>
            <a:lvl1pPr marL="0" indent="0" algn="l">
              <a:lnSpc>
                <a:spcPct val="90000"/>
              </a:lnSpc>
              <a:buClr>
                <a:schemeClr val="accent2"/>
              </a:buClr>
              <a:buFont typeface="Segoe UI" panose="020B0502040204020203" pitchFamily="34" charset="0"/>
              <a:buNone/>
              <a:defRPr sz="4000">
                <a:solidFill>
                  <a:schemeClr val="accent1"/>
                </a:solidFill>
              </a:defRPr>
            </a:lvl1pPr>
            <a:lvl2pPr marL="0" indent="0" algn="l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4">
                    <a:lumMod val="60000"/>
                    <a:lumOff val="40000"/>
                  </a:schemeClr>
                </a:solidFill>
              </a:defRPr>
            </a:lvl2pPr>
            <a:lvl3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3pPr>
            <a:lvl4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4pPr>
            <a:lvl5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5pPr>
            <a:lvl6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6pPr>
            <a:lvl7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7pPr>
            <a:lvl8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Char char="​"/>
              <a:defRPr sz="2000" b="0">
                <a:solidFill>
                  <a:schemeClr val="accent3"/>
                </a:solidFill>
              </a:defRPr>
            </a:lvl8pPr>
            <a:lvl9pPr marL="284163" indent="0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1"/>
            <a:r>
              <a:rPr lang="en-US"/>
              <a:t>Second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8B091F3-7EC7-4951-ACCE-9838A22C5D6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B284A7-01E8-4058-932A-15271654A1B7}"/>
              </a:ext>
            </a:extLst>
          </p:cNvPr>
          <p:cNvSpPr/>
          <p:nvPr userDrawn="1"/>
        </p:nvSpPr>
        <p:spPr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bg1"/>
                </a:solidFill>
              </a:rPr>
              <a:t>©2018 Visa. All rights reserved. Visa confidential</a:t>
            </a:r>
          </a:p>
        </p:txBody>
      </p:sp>
      <p:sp>
        <p:nvSpPr>
          <p:cNvPr id="13" name="Subtitle 1">
            <a:extLst>
              <a:ext uri="{FF2B5EF4-FFF2-40B4-BE49-F238E27FC236}">
                <a16:creationId xmlns:a16="http://schemas.microsoft.com/office/drawing/2014/main" id="{2DBD0450-BDDE-4377-9123-A0FB98AB9D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1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4160850-1A04-4252-932B-9F1EC1A5073C}"/>
              </a:ext>
            </a:extLst>
          </p:cNvPr>
          <p:cNvSpPr txBox="1">
            <a:spLocks/>
          </p:cNvSpPr>
          <p:nvPr userDrawn="1"/>
        </p:nvSpPr>
        <p:spPr>
          <a:xfrm>
            <a:off x="444872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bg1"/>
                </a:solidFill>
              </a:rPr>
              <a:pPr/>
              <a:t>‹#›</a:t>
            </a:fld>
            <a:endParaRPr lang="en-US" sz="8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107A847-E418-4B67-8AAE-E40AE1F22084}"/>
              </a:ext>
            </a:extLst>
          </p:cNvPr>
          <p:cNvGrpSpPr/>
          <p:nvPr userDrawn="1"/>
        </p:nvGrpSpPr>
        <p:grpSpPr>
          <a:xfrm>
            <a:off x="681952" y="1437285"/>
            <a:ext cx="665169" cy="535375"/>
            <a:chOff x="3814503" y="701634"/>
            <a:chExt cx="655119" cy="527284"/>
          </a:xfrm>
          <a:solidFill>
            <a:schemeClr val="accent4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5183A45-8173-4663-8B53-609A6C4FEDF1}"/>
                </a:ext>
              </a:extLst>
            </p:cNvPr>
            <p:cNvSpPr/>
            <p:nvPr userDrawn="1"/>
          </p:nvSpPr>
          <p:spPr>
            <a:xfrm>
              <a:off x="3814503" y="701634"/>
              <a:ext cx="327883" cy="527284"/>
            </a:xfrm>
            <a:custGeom>
              <a:avLst/>
              <a:gdLst/>
              <a:ahLst/>
              <a:cxnLst/>
              <a:rect l="l" t="t" r="r" b="b"/>
              <a:pathLst>
                <a:path w="327883" h="527284">
                  <a:moveTo>
                    <a:pt x="278546" y="0"/>
                  </a:moveTo>
                  <a:cubicBezTo>
                    <a:pt x="289510" y="0"/>
                    <a:pt x="298589" y="514"/>
                    <a:pt x="305784" y="1542"/>
                  </a:cubicBezTo>
                  <a:cubicBezTo>
                    <a:pt x="312979" y="2570"/>
                    <a:pt x="318461" y="4283"/>
                    <a:pt x="322230" y="6681"/>
                  </a:cubicBezTo>
                  <a:cubicBezTo>
                    <a:pt x="325998" y="9079"/>
                    <a:pt x="327883" y="12334"/>
                    <a:pt x="327883" y="16446"/>
                  </a:cubicBezTo>
                  <a:cubicBezTo>
                    <a:pt x="327883" y="20557"/>
                    <a:pt x="326512" y="25353"/>
                    <a:pt x="323771" y="30835"/>
                  </a:cubicBezTo>
                  <a:lnTo>
                    <a:pt x="189124" y="313493"/>
                  </a:lnTo>
                  <a:lnTo>
                    <a:pt x="189124" y="443001"/>
                  </a:lnTo>
                  <a:cubicBezTo>
                    <a:pt x="189124" y="460817"/>
                    <a:pt x="187239" y="475207"/>
                    <a:pt x="183471" y="486170"/>
                  </a:cubicBezTo>
                  <a:cubicBezTo>
                    <a:pt x="179702" y="497134"/>
                    <a:pt x="173877" y="505700"/>
                    <a:pt x="165997" y="511867"/>
                  </a:cubicBezTo>
                  <a:cubicBezTo>
                    <a:pt x="158117" y="518034"/>
                    <a:pt x="148181" y="522145"/>
                    <a:pt x="136190" y="524201"/>
                  </a:cubicBezTo>
                  <a:cubicBezTo>
                    <a:pt x="124198" y="526256"/>
                    <a:pt x="109980" y="527284"/>
                    <a:pt x="93534" y="527284"/>
                  </a:cubicBezTo>
                  <a:cubicBezTo>
                    <a:pt x="77089" y="527284"/>
                    <a:pt x="63042" y="526256"/>
                    <a:pt x="51393" y="524201"/>
                  </a:cubicBezTo>
                  <a:cubicBezTo>
                    <a:pt x="39744" y="522145"/>
                    <a:pt x="30151" y="518034"/>
                    <a:pt x="22613" y="511867"/>
                  </a:cubicBezTo>
                  <a:cubicBezTo>
                    <a:pt x="15076" y="505700"/>
                    <a:pt x="9422" y="497134"/>
                    <a:pt x="5654" y="486170"/>
                  </a:cubicBezTo>
                  <a:cubicBezTo>
                    <a:pt x="1885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4" y="385956"/>
                  </a:cubicBezTo>
                  <a:cubicBezTo>
                    <a:pt x="5140" y="368482"/>
                    <a:pt x="8395" y="351866"/>
                    <a:pt x="12849" y="336105"/>
                  </a:cubicBezTo>
                  <a:cubicBezTo>
                    <a:pt x="17303" y="320345"/>
                    <a:pt x="23470" y="304756"/>
                    <a:pt x="31350" y="289338"/>
                  </a:cubicBezTo>
                  <a:cubicBezTo>
                    <a:pt x="39230" y="273921"/>
                    <a:pt x="48652" y="257646"/>
                    <a:pt x="59615" y="240516"/>
                  </a:cubicBezTo>
                  <a:lnTo>
                    <a:pt x="198374" y="29808"/>
                  </a:lnTo>
                  <a:cubicBezTo>
                    <a:pt x="201801" y="24326"/>
                    <a:pt x="205569" y="19872"/>
                    <a:pt x="209681" y="16446"/>
                  </a:cubicBezTo>
                  <a:cubicBezTo>
                    <a:pt x="213792" y="13019"/>
                    <a:pt x="218931" y="10107"/>
                    <a:pt x="225098" y="7709"/>
                  </a:cubicBezTo>
                  <a:cubicBezTo>
                    <a:pt x="231265" y="5311"/>
                    <a:pt x="238632" y="3426"/>
                    <a:pt x="247197" y="2056"/>
                  </a:cubicBezTo>
                  <a:cubicBezTo>
                    <a:pt x="255762" y="685"/>
                    <a:pt x="266212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8B4A94F-568E-4739-92D3-5901D526115D}"/>
                </a:ext>
              </a:extLst>
            </p:cNvPr>
            <p:cNvSpPr/>
            <p:nvPr userDrawn="1"/>
          </p:nvSpPr>
          <p:spPr>
            <a:xfrm>
              <a:off x="4141180" y="701634"/>
              <a:ext cx="328442" cy="527284"/>
            </a:xfrm>
            <a:custGeom>
              <a:avLst/>
              <a:gdLst/>
              <a:ahLst/>
              <a:cxnLst/>
              <a:rect l="l" t="t" r="r" b="b"/>
              <a:pathLst>
                <a:path w="328442" h="527284">
                  <a:moveTo>
                    <a:pt x="278546" y="0"/>
                  </a:moveTo>
                  <a:cubicBezTo>
                    <a:pt x="289509" y="0"/>
                    <a:pt x="298760" y="514"/>
                    <a:pt x="306297" y="1542"/>
                  </a:cubicBezTo>
                  <a:cubicBezTo>
                    <a:pt x="313835" y="2570"/>
                    <a:pt x="319317" y="4283"/>
                    <a:pt x="322743" y="6681"/>
                  </a:cubicBezTo>
                  <a:cubicBezTo>
                    <a:pt x="326169" y="9079"/>
                    <a:pt x="328053" y="12334"/>
                    <a:pt x="328396" y="16446"/>
                  </a:cubicBezTo>
                  <a:cubicBezTo>
                    <a:pt x="328739" y="20557"/>
                    <a:pt x="327197" y="25353"/>
                    <a:pt x="323771" y="30835"/>
                  </a:cubicBezTo>
                  <a:lnTo>
                    <a:pt x="189123" y="313493"/>
                  </a:lnTo>
                  <a:lnTo>
                    <a:pt x="189123" y="443001"/>
                  </a:lnTo>
                  <a:cubicBezTo>
                    <a:pt x="189123" y="460817"/>
                    <a:pt x="187239" y="475207"/>
                    <a:pt x="183470" y="486170"/>
                  </a:cubicBezTo>
                  <a:cubicBezTo>
                    <a:pt x="179701" y="497134"/>
                    <a:pt x="173877" y="505700"/>
                    <a:pt x="165997" y="511867"/>
                  </a:cubicBezTo>
                  <a:cubicBezTo>
                    <a:pt x="158116" y="518034"/>
                    <a:pt x="148181" y="522145"/>
                    <a:pt x="136189" y="524201"/>
                  </a:cubicBezTo>
                  <a:cubicBezTo>
                    <a:pt x="124198" y="526256"/>
                    <a:pt x="109979" y="527284"/>
                    <a:pt x="93534" y="527284"/>
                  </a:cubicBezTo>
                  <a:cubicBezTo>
                    <a:pt x="77088" y="527284"/>
                    <a:pt x="63041" y="526256"/>
                    <a:pt x="51392" y="524201"/>
                  </a:cubicBezTo>
                  <a:cubicBezTo>
                    <a:pt x="39743" y="522145"/>
                    <a:pt x="30150" y="518034"/>
                    <a:pt x="22612" y="511867"/>
                  </a:cubicBezTo>
                  <a:cubicBezTo>
                    <a:pt x="15075" y="505700"/>
                    <a:pt x="9422" y="497134"/>
                    <a:pt x="5653" y="486170"/>
                  </a:cubicBezTo>
                  <a:cubicBezTo>
                    <a:pt x="1884" y="475207"/>
                    <a:pt x="0" y="460817"/>
                    <a:pt x="0" y="443001"/>
                  </a:cubicBezTo>
                  <a:cubicBezTo>
                    <a:pt x="0" y="422444"/>
                    <a:pt x="1028" y="403429"/>
                    <a:pt x="3083" y="385956"/>
                  </a:cubicBezTo>
                  <a:cubicBezTo>
                    <a:pt x="5139" y="368482"/>
                    <a:pt x="8394" y="351866"/>
                    <a:pt x="12848" y="336105"/>
                  </a:cubicBezTo>
                  <a:cubicBezTo>
                    <a:pt x="17302" y="320345"/>
                    <a:pt x="23469" y="304756"/>
                    <a:pt x="31349" y="289338"/>
                  </a:cubicBezTo>
                  <a:cubicBezTo>
                    <a:pt x="39229" y="273921"/>
                    <a:pt x="48651" y="257646"/>
                    <a:pt x="59615" y="240516"/>
                  </a:cubicBezTo>
                  <a:lnTo>
                    <a:pt x="198374" y="29808"/>
                  </a:lnTo>
                  <a:cubicBezTo>
                    <a:pt x="201800" y="24326"/>
                    <a:pt x="205569" y="19872"/>
                    <a:pt x="209680" y="16446"/>
                  </a:cubicBezTo>
                  <a:cubicBezTo>
                    <a:pt x="213791" y="13019"/>
                    <a:pt x="218931" y="10107"/>
                    <a:pt x="225098" y="7709"/>
                  </a:cubicBezTo>
                  <a:cubicBezTo>
                    <a:pt x="231265" y="5311"/>
                    <a:pt x="238631" y="3426"/>
                    <a:pt x="247196" y="2056"/>
                  </a:cubicBezTo>
                  <a:cubicBezTo>
                    <a:pt x="255762" y="685"/>
                    <a:pt x="266211" y="0"/>
                    <a:pt x="2785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</p:grpSp>
    </p:spTree>
    <p:extLst>
      <p:ext uri="{BB962C8B-B14F-4D97-AF65-F5344CB8AC3E}">
        <p14:creationId xmlns:p14="http://schemas.microsoft.com/office/powerpoint/2010/main" val="16723489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C2C4E0-5947-4AE3-B5B3-154442D10064}"/>
              </a:ext>
            </a:extLst>
          </p:cNvPr>
          <p:cNvSpPr/>
          <p:nvPr userDrawn="1"/>
        </p:nvSpPr>
        <p:spPr bwMode="auto">
          <a:xfrm>
            <a:off x="443893" y="1524000"/>
            <a:ext cx="3557220" cy="4572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>
              <a:solidFill>
                <a:schemeClr val="lt1"/>
              </a:solidFill>
            </a:endParaRPr>
          </a:p>
        </p:txBody>
      </p:sp>
      <p:sp>
        <p:nvSpPr>
          <p:cNvPr id="23" name="Chart Placeholder 21">
            <a:extLst>
              <a:ext uri="{FF2B5EF4-FFF2-40B4-BE49-F238E27FC236}">
                <a16:creationId xmlns:a16="http://schemas.microsoft.com/office/drawing/2014/main" id="{063B57E3-558A-454E-A493-374D4834A60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280235" y="1523999"/>
            <a:ext cx="7453557" cy="4570571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95B4EAF-CDFB-4E51-BDA4-C30C45429DCE}"/>
              </a:ext>
            </a:extLst>
          </p:cNvPr>
          <p:cNvCxnSpPr>
            <a:cxnSpLocks/>
          </p:cNvCxnSpPr>
          <p:nvPr userDrawn="1"/>
        </p:nvCxnSpPr>
        <p:spPr>
          <a:xfrm>
            <a:off x="443888" y="1525423"/>
            <a:ext cx="355722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Subtitle 1">
            <a:extLst>
              <a:ext uri="{FF2B5EF4-FFF2-40B4-BE49-F238E27FC236}">
                <a16:creationId xmlns:a16="http://schemas.microsoft.com/office/drawing/2014/main" id="{B0930E26-4B4D-4BE2-A563-FE2628D70A3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3631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ubtitle 1">
            <a:extLst>
              <a:ext uri="{FF2B5EF4-FFF2-40B4-BE49-F238E27FC236}">
                <a16:creationId xmlns:a16="http://schemas.microsoft.com/office/drawing/2014/main" id="{0E6C77D5-8A0F-421A-BB95-3A29A38CBB1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355C03-2C67-4990-82FC-7A12A5616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6B7666D-65B9-4D43-856A-E1D086329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90" y="1525424"/>
            <a:ext cx="3557220" cy="4570576"/>
          </a:xfrm>
        </p:spPr>
        <p:txBody>
          <a:bodyPr lIns="182880" tIns="182880" rIns="182880" bIns="182880">
            <a:normAutofit/>
          </a:bodyPr>
          <a:lstStyle>
            <a:lvl1pPr marL="174625" indent="-174625">
              <a:buFont typeface="Arial" panose="020B0604020202020204" pitchFamily="34" charset="0"/>
              <a:buChar char="•"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/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438196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233A59D7-6522-4306-A415-C57DF94DA87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279900" y="1524000"/>
            <a:ext cx="7467600" cy="457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C2C4E0-5947-4AE3-B5B3-154442D10064}"/>
              </a:ext>
            </a:extLst>
          </p:cNvPr>
          <p:cNvSpPr/>
          <p:nvPr userDrawn="1"/>
        </p:nvSpPr>
        <p:spPr bwMode="auto">
          <a:xfrm>
            <a:off x="443893" y="1524000"/>
            <a:ext cx="3557220" cy="4572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>
              <a:solidFill>
                <a:schemeClr val="lt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95B4EAF-CDFB-4E51-BDA4-C30C45429DCE}"/>
              </a:ext>
            </a:extLst>
          </p:cNvPr>
          <p:cNvCxnSpPr>
            <a:cxnSpLocks/>
          </p:cNvCxnSpPr>
          <p:nvPr userDrawn="1"/>
        </p:nvCxnSpPr>
        <p:spPr>
          <a:xfrm>
            <a:off x="443888" y="1525423"/>
            <a:ext cx="355722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Subtitle 1">
            <a:extLst>
              <a:ext uri="{FF2B5EF4-FFF2-40B4-BE49-F238E27FC236}">
                <a16:creationId xmlns:a16="http://schemas.microsoft.com/office/drawing/2014/main" id="{B0930E26-4B4D-4BE2-A563-FE2628D70A3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3631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ubtitle 1">
            <a:extLst>
              <a:ext uri="{FF2B5EF4-FFF2-40B4-BE49-F238E27FC236}">
                <a16:creationId xmlns:a16="http://schemas.microsoft.com/office/drawing/2014/main" id="{0E6C77D5-8A0F-421A-BB95-3A29A38CBB1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355C03-2C67-4990-82FC-7A12A5616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6B7666D-65B9-4D43-856A-E1D086329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3890" y="1525424"/>
            <a:ext cx="3557220" cy="4570576"/>
          </a:xfrm>
        </p:spPr>
        <p:txBody>
          <a:bodyPr lIns="182880" tIns="182880" rIns="182880" bIns="182880">
            <a:normAutofit/>
          </a:bodyPr>
          <a:lstStyle>
            <a:lvl1pPr marL="174625" indent="-174625">
              <a:buFont typeface="Arial" panose="020B0604020202020204" pitchFamily="34" charset="0"/>
              <a:buChar char="•"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/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200614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4C3114-1827-41FA-B87E-C4834AE7508D}"/>
              </a:ext>
            </a:extLst>
          </p:cNvPr>
          <p:cNvCxnSpPr>
            <a:cxnSpLocks/>
          </p:cNvCxnSpPr>
          <p:nvPr userDrawn="1"/>
        </p:nvCxnSpPr>
        <p:spPr>
          <a:xfrm>
            <a:off x="3332520" y="3297423"/>
            <a:ext cx="265076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14F612E-A0AF-4C62-9839-1639C7AFC07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79714" y="1812934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9C6F7746-6404-4E67-A6C2-21C4152BA0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956627" y="1812934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55944640-0C07-43E3-AD5C-E95810644F1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832673" y="1812934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7DECB39-6F2E-4C4F-8F6E-334055FFED9B}"/>
              </a:ext>
            </a:extLst>
          </p:cNvPr>
          <p:cNvCxnSpPr>
            <a:cxnSpLocks/>
          </p:cNvCxnSpPr>
          <p:nvPr userDrawn="1"/>
        </p:nvCxnSpPr>
        <p:spPr>
          <a:xfrm>
            <a:off x="6210300" y="3297423"/>
            <a:ext cx="264903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3D5FEF2-D281-4232-BB60-DE583C21A510}"/>
              </a:ext>
            </a:extLst>
          </p:cNvPr>
          <p:cNvCxnSpPr>
            <a:cxnSpLocks/>
          </p:cNvCxnSpPr>
          <p:nvPr userDrawn="1"/>
        </p:nvCxnSpPr>
        <p:spPr>
          <a:xfrm>
            <a:off x="9087934" y="3297423"/>
            <a:ext cx="264585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" name="Subtitle 1">
            <a:extLst>
              <a:ext uri="{FF2B5EF4-FFF2-40B4-BE49-F238E27FC236}">
                <a16:creationId xmlns:a16="http://schemas.microsoft.com/office/drawing/2014/main" id="{AD429145-70AF-4EF6-B470-FD76E1AFE83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3631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Subtitle 1">
            <a:extLst>
              <a:ext uri="{FF2B5EF4-FFF2-40B4-BE49-F238E27FC236}">
                <a16:creationId xmlns:a16="http://schemas.microsoft.com/office/drawing/2014/main" id="{6B7E725D-BD4C-4BAC-BDF7-E2A4DF8B530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11E38A-3D2B-4582-9B12-6B1A5DFA0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5E8305-79BD-42DE-8BD0-F9C414808D0F}"/>
              </a:ext>
            </a:extLst>
          </p:cNvPr>
          <p:cNvSpPr/>
          <p:nvPr userDrawn="1"/>
        </p:nvSpPr>
        <p:spPr bwMode="auto">
          <a:xfrm>
            <a:off x="443892" y="1522483"/>
            <a:ext cx="2657002" cy="4573484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err="1">
              <a:solidFill>
                <a:schemeClr val="lt1"/>
              </a:solidFill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F512D424-C80D-4E35-81CB-DB3909B1DC90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443889" y="1524001"/>
            <a:ext cx="2657002" cy="4571999"/>
          </a:xfrm>
        </p:spPr>
        <p:txBody>
          <a:bodyPr lIns="182880" tIns="182880" rIns="182880" bIns="18288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/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8762316F-5A46-408E-AFAE-5BEC01718E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35048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E5388012-73A8-4F33-8B4E-CC0FA9C0A36C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6217442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3518810-3525-4C72-801B-9D15D61F122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9085552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864861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165C182-5702-4DBB-9D25-A0121EB3D6CF}"/>
              </a:ext>
            </a:extLst>
          </p:cNvPr>
          <p:cNvCxnSpPr>
            <a:cxnSpLocks/>
          </p:cNvCxnSpPr>
          <p:nvPr userDrawn="1"/>
        </p:nvCxnSpPr>
        <p:spPr>
          <a:xfrm>
            <a:off x="455033" y="3298040"/>
            <a:ext cx="2649033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2A928B1A-BB40-4689-A6A3-682C3431194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197550" y="1814168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B4C63087-9A70-4F53-ACB1-FB152C9A67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077801" y="1814168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79C3C8A0-87B4-450C-954D-5D55BE679F6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956626" y="1814168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ACD1FC2-3BD7-4004-A516-86AC4EE81A18}"/>
              </a:ext>
            </a:extLst>
          </p:cNvPr>
          <p:cNvCxnSpPr>
            <a:cxnSpLocks/>
          </p:cNvCxnSpPr>
          <p:nvPr userDrawn="1"/>
        </p:nvCxnSpPr>
        <p:spPr>
          <a:xfrm>
            <a:off x="3332666" y="3298040"/>
            <a:ext cx="265062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FC2B18-283D-4EFB-B6CD-13138F0B2BC9}"/>
              </a:ext>
            </a:extLst>
          </p:cNvPr>
          <p:cNvCxnSpPr>
            <a:cxnSpLocks/>
          </p:cNvCxnSpPr>
          <p:nvPr userDrawn="1"/>
        </p:nvCxnSpPr>
        <p:spPr>
          <a:xfrm>
            <a:off x="6210300" y="3298040"/>
            <a:ext cx="264903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CDA13695-8A1D-47BB-A795-F399120A07B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834261" y="1814168"/>
            <a:ext cx="1156380" cy="11563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BBEA67E-54B0-4061-AC90-169E84FA0EC8}"/>
              </a:ext>
            </a:extLst>
          </p:cNvPr>
          <p:cNvCxnSpPr>
            <a:cxnSpLocks/>
          </p:cNvCxnSpPr>
          <p:nvPr userDrawn="1"/>
        </p:nvCxnSpPr>
        <p:spPr>
          <a:xfrm>
            <a:off x="9087934" y="3298040"/>
            <a:ext cx="264903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Subtitle 1">
            <a:extLst>
              <a:ext uri="{FF2B5EF4-FFF2-40B4-BE49-F238E27FC236}">
                <a16:creationId xmlns:a16="http://schemas.microsoft.com/office/drawing/2014/main" id="{BBD7F94C-025F-4FD9-A79E-7026EB485E7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2DBE75-2B81-4F1F-A783-EF131AAA4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CC0377-F543-4DA7-90FC-1EDB1B6BDA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5033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Subtitle 1">
            <a:extLst>
              <a:ext uri="{FF2B5EF4-FFF2-40B4-BE49-F238E27FC236}">
                <a16:creationId xmlns:a16="http://schemas.microsoft.com/office/drawing/2014/main" id="{CF783A61-5E8A-4F55-AD41-54589D02D6A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53631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5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A13FFE71-2DC6-498F-B91E-71080A1225C2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3331871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995EEF1-8864-41B3-B63D-EA0452193068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6211094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0751A1B-2CFB-47C5-AD42-78BE576AD1C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9088728" y="3625533"/>
            <a:ext cx="2648240" cy="2470464"/>
          </a:xfrm>
        </p:spPr>
        <p:txBody>
          <a:bodyPr lIns="0" tIns="0" rIns="0" bIns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 kern="100" spc="-30" baseline="0">
                <a:solidFill>
                  <a:schemeClr val="accent4"/>
                </a:solidFill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600">
                <a:solidFill>
                  <a:schemeClr val="accent3"/>
                </a:solidFill>
              </a:defRPr>
            </a:lvl2pPr>
            <a:lvl3pPr marL="630238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Calibri" panose="020F0502020204030204" pitchFamily="34" charset="0"/>
              <a:buChar char="─"/>
              <a:defRPr sz="1600"/>
            </a:lvl3pPr>
            <a:lvl4pPr marL="860425" indent="-174625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3"/>
                </a:solidFill>
              </a:defRPr>
            </a:lvl4pPr>
            <a:lvl5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5pPr>
            <a:lvl6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3"/>
                </a:solidFill>
              </a:defRPr>
            </a:lvl6pPr>
            <a:lvl7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7pPr>
            <a:lvl8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8pPr>
            <a:lvl9pPr marL="514350" indent="-169863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60280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3C29A7C-81F2-449F-838C-474F38E3AF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9525" y="1524001"/>
            <a:ext cx="2647622" cy="4191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889" y="433113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5DDE7C4-8A69-444E-B0A3-EA8AE47E36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1" y="1485900"/>
            <a:ext cx="8317522" cy="4610099"/>
          </a:xfrm>
        </p:spPr>
        <p:txBody>
          <a:bodyPr/>
          <a:lstStyle>
            <a:lvl1pPr marL="404813" indent="-404813">
              <a:lnSpc>
                <a:spcPct val="100000"/>
              </a:lnSpc>
              <a:spcBef>
                <a:spcPts val="0"/>
              </a:spcBef>
              <a:spcAft>
                <a:spcPts val="2200"/>
              </a:spcAft>
              <a:buClr>
                <a:schemeClr val="accent2"/>
              </a:buClr>
              <a:buSzPct val="100000"/>
              <a:buFont typeface="+mj-lt"/>
              <a:buAutoNum type="arabicPeriod"/>
              <a:tabLst/>
              <a:defRPr sz="2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8062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7504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304800" y="4255825"/>
            <a:ext cx="57912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04800" y="4845733"/>
            <a:ext cx="579120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54845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0546080" cy="5581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8584154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3171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4378170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2267713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9927973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092200"/>
            <a:ext cx="6096000" cy="52306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5486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5085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2387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4493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6096000" y="-1"/>
            <a:ext cx="6099048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00799" y="3080187"/>
            <a:ext cx="5486400" cy="697627"/>
          </a:xfrm>
        </p:spPr>
        <p:txBody>
          <a:bodyPr anchor="ctr"/>
          <a:lstStyle>
            <a:lvl1pPr algn="l">
              <a:spcBef>
                <a:spcPts val="0"/>
              </a:spcBef>
              <a:defRPr sz="53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11121974" y="6616703"/>
            <a:ext cx="883255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933">
                <a:solidFill>
                  <a:srgbClr val="FFF1CA"/>
                </a:solidFill>
              </a:rPr>
              <a:t>Visa Confidentia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716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5654373" y="6616703"/>
            <a:ext cx="883254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4685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1256264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3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069948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5654373" y="6616703"/>
            <a:ext cx="883254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0065EA"/>
                </a:solidFill>
              </a:rPr>
              <a:t>Visa 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28"/>
          <a:stretch/>
        </p:blipFill>
        <p:spPr bwMode="black">
          <a:xfrm>
            <a:off x="11087888" y="219883"/>
            <a:ext cx="956200" cy="3380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0065EA"/>
                </a:solidFill>
              </a:rPr>
              <a:t>|  Presentation Title  |  Month XX, Year</a:t>
            </a:r>
          </a:p>
        </p:txBody>
      </p:sp>
      <p:sp>
        <p:nvSpPr>
          <p:cNvPr id="15" name="TextBox 14"/>
          <p:cNvSpPr txBox="1"/>
          <p:nvPr userDrawn="1"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/>
              <a:pPr lvl="0"/>
              <a:t>‹#›</a:t>
            </a:fld>
            <a:endParaRPr lang="en-US" sz="933"/>
          </a:p>
        </p:txBody>
      </p:sp>
    </p:spTree>
    <p:extLst>
      <p:ext uri="{BB962C8B-B14F-4D97-AF65-F5344CB8AC3E}">
        <p14:creationId xmlns:p14="http://schemas.microsoft.com/office/powerpoint/2010/main" val="27532462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9800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72546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55687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5970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7504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304800" y="4255825"/>
            <a:ext cx="5791200" cy="332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04800" y="4845733"/>
            <a:ext cx="579120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372429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0546080" cy="5581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054329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34658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918857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2267713"/>
            <a:ext cx="11582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443199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9625787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092200"/>
            <a:ext cx="6096000" cy="52306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5"/>
            <a:ext cx="5486400" cy="2231039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0427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 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1398319"/>
            <a:ext cx="11256264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889" y="433113"/>
            <a:ext cx="11256264" cy="978729"/>
          </a:xfrm>
        </p:spPr>
        <p:txBody>
          <a:bodyPr anchor="t" anchorCtr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8944098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6370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1943623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840" y="5256236"/>
            <a:ext cx="3108960" cy="101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3468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6096000" y="-1"/>
            <a:ext cx="6099048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67"/>
            </a:lvl1pPr>
          </a:lstStyle>
          <a:p>
            <a:r>
              <a:rPr lang="en-US"/>
              <a:t>Click on center icon to 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00799" y="3080187"/>
            <a:ext cx="5486400" cy="697627"/>
          </a:xfrm>
        </p:spPr>
        <p:txBody>
          <a:bodyPr anchor="ctr"/>
          <a:lstStyle>
            <a:lvl1pPr algn="l">
              <a:spcBef>
                <a:spcPts val="0"/>
              </a:spcBef>
              <a:defRPr sz="53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black">
          <a:xfrm>
            <a:off x="11121974" y="6616703"/>
            <a:ext cx="883255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933">
                <a:solidFill>
                  <a:srgbClr val="FFF1CA"/>
                </a:solidFill>
              </a:rPr>
              <a:t>Visa Confidentia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6400799" y="6631134"/>
            <a:ext cx="2159440" cy="133307"/>
            <a:chOff x="228600" y="4973347"/>
            <a:chExt cx="1619580" cy="99980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gray">
            <a:xfrm>
              <a:off x="363398" y="4976425"/>
              <a:ext cx="1484782" cy="969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en-US" sz="933">
                  <a:solidFill>
                    <a:srgbClr val="FFF1CA"/>
                  </a:solidFill>
                </a:rPr>
                <a:t>|  Presentation Title  |  Month XX, Year</a:t>
              </a:r>
            </a:p>
          </p:txBody>
        </p:sp>
        <p:sp>
          <p:nvSpPr>
            <p:cNvPr id="12" name="TextBox 11"/>
            <p:cNvSpPr txBox="1"/>
            <p:nvPr/>
          </p:nvSpPr>
          <p:spPr bwMode="gray">
            <a:xfrm>
              <a:off x="228600" y="4973347"/>
              <a:ext cx="110607" cy="969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800">
                  <a:solidFill>
                    <a:srgbClr val="0065EA"/>
                  </a:solidFill>
                </a:defRPr>
              </a:lvl1pPr>
            </a:lstStyle>
            <a:p>
              <a:pPr lvl="0"/>
              <a:fld id="{8E9DF562-4D88-4A5A-AAF6-44DA0968931F}" type="slidenum">
                <a:rPr lang="en-US" sz="933" smtClean="0">
                  <a:solidFill>
                    <a:srgbClr val="FFF1CA"/>
                  </a:solidFill>
                </a:rPr>
                <a:pPr lvl="0"/>
                <a:t>‹#›</a:t>
              </a:fld>
              <a:endParaRPr lang="en-US" sz="933">
                <a:solidFill>
                  <a:srgbClr val="FFF1C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54154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ld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5772198" y="6616703"/>
            <a:ext cx="64761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Internal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FFF1CA"/>
                </a:solidFill>
              </a:rPr>
              <a:t>|  Presentation Title  |  Month XX, Year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>
                <a:solidFill>
                  <a:srgbClr val="FFF1CA"/>
                </a:solidFill>
              </a:rPr>
              <a:pPr lvl="0"/>
              <a:t>‹#›</a:t>
            </a:fld>
            <a:endParaRPr lang="en-US" sz="933">
              <a:solidFill>
                <a:srgbClr val="FFF1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80052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Gradient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5772194" y="6616703"/>
            <a:ext cx="64761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F7B600">
                    <a:lumMod val="20000"/>
                    <a:lumOff val="80000"/>
                  </a:srgbClr>
                </a:solidFill>
              </a:rPr>
              <a:t>Visa Interna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28"/>
          <a:stretch/>
        </p:blipFill>
        <p:spPr bwMode="black">
          <a:xfrm>
            <a:off x="11087888" y="219883"/>
            <a:ext cx="956200" cy="3380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04800" y="2999071"/>
            <a:ext cx="11582400" cy="837152"/>
          </a:xfrm>
        </p:spPr>
        <p:txBody>
          <a:bodyPr anchor="ctr"/>
          <a:lstStyle>
            <a:lvl1pPr algn="l">
              <a:spcBef>
                <a:spcPts val="0"/>
              </a:spcBef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484531" y="6635234"/>
            <a:ext cx="1979709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933">
                <a:solidFill>
                  <a:srgbClr val="0065EA"/>
                </a:solidFill>
              </a:rPr>
              <a:t>|  Presentation Title  |  Month XX, Year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304800" y="6631130"/>
            <a:ext cx="147476" cy="12920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rgbClr val="0065EA"/>
                </a:solidFill>
              </a:defRPr>
            </a:lvl1pPr>
          </a:lstStyle>
          <a:p>
            <a:pPr lvl="0"/>
            <a:fld id="{8E9DF562-4D88-4A5A-AAF6-44DA0968931F}" type="slidenum">
              <a:rPr lang="en-US" sz="933" smtClean="0"/>
              <a:pPr lvl="0"/>
              <a:t>‹#›</a:t>
            </a:fld>
            <a:endParaRPr lang="en-US" sz="933"/>
          </a:p>
        </p:txBody>
      </p:sp>
    </p:spTree>
    <p:extLst>
      <p:ext uri="{BB962C8B-B14F-4D97-AF65-F5344CB8AC3E}">
        <p14:creationId xmlns:p14="http://schemas.microsoft.com/office/powerpoint/2010/main" val="4051183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o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2400">
              <a:solidFill>
                <a:srgbClr val="5C5C5C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66"/>
          <a:stretch/>
        </p:blipFill>
        <p:spPr bwMode="invGray">
          <a:xfrm>
            <a:off x="6568806" y="2353572"/>
            <a:ext cx="5195681" cy="16428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invGray">
          <a:xfrm>
            <a:off x="304800" y="3479800"/>
            <a:ext cx="5791200" cy="55810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734802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226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28966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7500" y="3245142"/>
            <a:ext cx="5080000" cy="558166"/>
          </a:xfrm>
        </p:spPr>
        <p:txBody>
          <a:bodyPr wrap="square" anchor="b">
            <a:spAutoFit/>
          </a:bodyPr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9693" y="4019551"/>
            <a:ext cx="50678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1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grpSp>
        <p:nvGrpSpPr>
          <p:cNvPr id="22" name="Group 21"/>
          <p:cNvGrpSpPr/>
          <p:nvPr userDrawn="1"/>
        </p:nvGrpSpPr>
        <p:grpSpPr bwMode="gray">
          <a:xfrm>
            <a:off x="6058675" y="1617483"/>
            <a:ext cx="6133325" cy="3020036"/>
            <a:chOff x="4544006" y="1617482"/>
            <a:chExt cx="4599994" cy="3020036"/>
          </a:xfrm>
        </p:grpSpPr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44006" y="3187828"/>
              <a:ext cx="1689414" cy="549060"/>
            </a:xfrm>
            <a:prstGeom prst="rect">
              <a:avLst/>
            </a:prstGeom>
          </p:spPr>
        </p:pic>
        <p:grpSp>
          <p:nvGrpSpPr>
            <p:cNvPr id="24" name="Group 23"/>
            <p:cNvGrpSpPr/>
            <p:nvPr userDrawn="1"/>
          </p:nvGrpSpPr>
          <p:grpSpPr bwMode="gray">
            <a:xfrm>
              <a:off x="6884010" y="2674775"/>
              <a:ext cx="2259987" cy="454637"/>
              <a:chOff x="9687151" y="3306297"/>
              <a:chExt cx="1711639" cy="454637"/>
            </a:xfrm>
          </p:grpSpPr>
          <p:sp>
            <p:nvSpPr>
              <p:cNvPr id="32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3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4" name="Rectangle 33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 bwMode="gray">
            <a:xfrm>
              <a:off x="5584850" y="1617482"/>
              <a:ext cx="2550327" cy="451865"/>
              <a:chOff x="7916736" y="-1399562"/>
              <a:chExt cx="2550327" cy="451865"/>
            </a:xfrm>
          </p:grpSpPr>
          <p:sp>
            <p:nvSpPr>
              <p:cNvPr id="2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sz="180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 userDrawn="1"/>
          </p:nvSpPr>
          <p:spPr bwMode="gray">
            <a:xfrm>
              <a:off x="5113112" y="4336890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 userDrawn="1"/>
          </p:nvSpPr>
          <p:spPr bwMode="gray">
            <a:xfrm>
              <a:off x="7349540" y="3431471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8" name="Rectangle 21"/>
            <p:cNvSpPr>
              <a:spLocks noChangeArrowheads="1"/>
            </p:cNvSpPr>
            <p:nvPr userDrawn="1"/>
          </p:nvSpPr>
          <p:spPr bwMode="gray">
            <a:xfrm>
              <a:off x="8250415" y="4034176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40" name="Content Placeholder 4"/>
          <p:cNvSpPr>
            <a:spLocks noGrp="1"/>
          </p:cNvSpPr>
          <p:nvPr>
            <p:ph sz="quarter" idx="10" hasCustomPrompt="1"/>
          </p:nvPr>
        </p:nvSpPr>
        <p:spPr bwMode="gray">
          <a:xfrm>
            <a:off x="316992" y="4299879"/>
            <a:ext cx="5067808" cy="2492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082207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0683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471" y="1585544"/>
            <a:ext cx="11267467" cy="46394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3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53402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3" y="831875"/>
            <a:ext cx="8293100" cy="558166"/>
          </a:xfrm>
        </p:spPr>
        <p:txBody>
          <a:bodyPr anchor="b">
            <a:spAutoFit/>
          </a:bodyPr>
          <a:lstStyle>
            <a:lvl1pPr algn="r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409348" y="1572601"/>
            <a:ext cx="8290560" cy="249299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title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12" hasCustomPrompt="1"/>
          </p:nvPr>
        </p:nvSpPr>
        <p:spPr bwMode="gray">
          <a:xfrm>
            <a:off x="409348" y="1856175"/>
            <a:ext cx="8290560" cy="2492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3134463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21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1817" y="5402589"/>
            <a:ext cx="8290560" cy="261611"/>
          </a:xfrm>
        </p:spPr>
        <p:txBody>
          <a:bodyPr anchor="b"/>
          <a:lstStyle>
            <a:lvl1pPr algn="l">
              <a:spcBef>
                <a:spcPts val="1200"/>
              </a:spcBef>
              <a:defRPr sz="20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401817" y="5803901"/>
            <a:ext cx="8290560" cy="193899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title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401817" y="6016691"/>
            <a:ext cx="8290560" cy="193899"/>
          </a:xfrm>
        </p:spPr>
        <p:txBody>
          <a:bodyPr/>
          <a:lstStyle>
            <a:lvl1pPr marL="0" indent="0" algn="l">
              <a:spcBef>
                <a:spcPts val="1200"/>
              </a:spcBef>
              <a:buNone/>
              <a:defRPr sz="1400">
                <a:solidFill>
                  <a:schemeClr val="bg2"/>
                </a:solidFill>
              </a:defRPr>
            </a:lvl1pPr>
            <a:lvl2pPr marL="227006" indent="0">
              <a:buNone/>
              <a:defRPr>
                <a:solidFill>
                  <a:schemeClr val="bg1"/>
                </a:solidFill>
              </a:defRPr>
            </a:lvl2pPr>
            <a:lvl3pPr marL="460363" indent="0">
              <a:buNone/>
              <a:defRPr>
                <a:solidFill>
                  <a:schemeClr val="bg1"/>
                </a:solidFill>
              </a:defRPr>
            </a:lvl3pPr>
            <a:lvl4pPr marL="1122449" indent="0">
              <a:buNone/>
              <a:defRPr>
                <a:solidFill>
                  <a:schemeClr val="bg1"/>
                </a:solidFill>
              </a:defRPr>
            </a:lvl4pPr>
            <a:lvl5pPr marL="14285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19851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0042" y="3359061"/>
            <a:ext cx="7769860" cy="418576"/>
          </a:xfrm>
        </p:spPr>
        <p:txBody>
          <a:bodyPr anchor="ctr"/>
          <a:lstStyle>
            <a:lvl1pPr algn="l">
              <a:spcBef>
                <a:spcPts val="12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2302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3130529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321589" y="685801"/>
            <a:ext cx="11582400" cy="249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38459510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 bwMode="gray">
          <a:xfrm>
            <a:off x="316992" y="1188721"/>
            <a:ext cx="11582400" cy="134703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626199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16992" y="1527049"/>
            <a:ext cx="11582400" cy="1347035"/>
          </a:xfrm>
        </p:spPr>
        <p:txBody>
          <a:bodyPr/>
          <a:lstStyle>
            <a:lvl1pPr>
              <a:defRPr/>
            </a:lvl1pPr>
            <a:lvl3pPr>
              <a:defRPr/>
            </a:lvl3pPr>
          </a:lstStyle>
          <a:p>
            <a:pPr lvl="0"/>
            <a:r>
              <a:rPr lang="en-US"/>
              <a:t>Click to edit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992" y="1042418"/>
            <a:ext cx="11582400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895419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61308" y="243841"/>
            <a:ext cx="7977632" cy="558166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black">
          <a:xfrm>
            <a:off x="4048554" y="6616704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>
                <a:solidFill>
                  <a:srgbClr val="5C5C5C"/>
                </a:solidFill>
              </a:rPr>
              <a:t>|  Presentation Title  |  Month XX, Yea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844088" y="663465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</a:rPr>
              <a:pPr/>
              <a:t>‹#›</a:t>
            </a:fld>
            <a:endParaRPr lang="en-US" sz="700">
              <a:solidFill>
                <a:srgbClr val="5C5C5C"/>
              </a:solidFill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873500" y="1527049"/>
            <a:ext cx="797356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gray">
          <a:xfrm>
            <a:off x="9550400" y="6616704"/>
            <a:ext cx="12192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874008" y="1042418"/>
            <a:ext cx="7973568" cy="44319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8944" y="6521980"/>
            <a:ext cx="902208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2137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2" hasCustomPrompt="1"/>
          </p:nvPr>
        </p:nvSpPr>
        <p:spPr bwMode="gray">
          <a:xfrm>
            <a:off x="316992" y="1527049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374892" y="1527049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16992" y="1042418"/>
            <a:ext cx="5474208" cy="8863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 bwMode="gray">
          <a:xfrm>
            <a:off x="6374892" y="1042418"/>
            <a:ext cx="5474208" cy="8863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 marL="0" indent="0">
              <a:buNone/>
              <a:defRPr b="1">
                <a:solidFill>
                  <a:schemeClr val="accent5"/>
                </a:solidFill>
              </a:defRPr>
            </a:lvl2pPr>
            <a:lvl3pPr marL="0" indent="0">
              <a:buNone/>
              <a:defRPr b="1">
                <a:solidFill>
                  <a:schemeClr val="accent5"/>
                </a:solidFill>
              </a:defRPr>
            </a:lvl3pPr>
            <a:lvl4pPr marL="0" indent="0">
              <a:buNone/>
              <a:defRPr b="1">
                <a:solidFill>
                  <a:schemeClr val="accent5"/>
                </a:solidFill>
              </a:defRPr>
            </a:lvl4pPr>
            <a:lvl5pPr marL="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6085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316992" y="1188721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4" hasCustomPrompt="1"/>
          </p:nvPr>
        </p:nvSpPr>
        <p:spPr bwMode="gray">
          <a:xfrm>
            <a:off x="6336792" y="1188721"/>
            <a:ext cx="5474208" cy="134703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0252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28799"/>
            <a:ext cx="11280531" cy="43873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1256264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9C1736E-9D79-485F-9B7E-BA941FEEDD4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5472" cy="96950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3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2948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6273800" y="3222760"/>
            <a:ext cx="5702299" cy="418576"/>
          </a:xfrm>
        </p:spPr>
        <p:txBody>
          <a:bodyPr anchor="ctr"/>
          <a:lstStyle>
            <a:lvl1pPr algn="l">
              <a:spcBef>
                <a:spcPts val="10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6447573" y="6616704"/>
            <a:ext cx="334843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>
                <a:solidFill>
                  <a:schemeClr val="bg2"/>
                </a:solidFill>
                <a:latin typeface="+mn-lt"/>
              </a:rPr>
              <a:t> Year</a:t>
            </a:r>
            <a:endParaRPr lang="en-US" sz="7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5823494" y="6616704"/>
            <a:ext cx="532191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r"/>
              <a:t>‹#›</a:t>
            </a:fld>
            <a:endParaRPr lang="en-US" sz="70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gray">
          <a:xfrm>
            <a:off x="9550400" y="6616704"/>
            <a:ext cx="12192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>
                <a:solidFill>
                  <a:schemeClr val="bg2"/>
                </a:solidFill>
                <a:latin typeface="+mn-lt"/>
              </a:rPr>
              <a:t>Visa Confidentia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8944" y="6521980"/>
            <a:ext cx="902208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347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6992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7463550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6992" y="308152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4169015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0" y="-1"/>
            <a:ext cx="12192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sz="1800">
              <a:solidFill>
                <a:srgbClr val="5C5C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6992" y="212140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0480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12192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1800">
              <a:solidFill>
                <a:srgbClr val="5C5C5C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0668000" y="6070600"/>
            <a:ext cx="1524000" cy="78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16992" y="2121409"/>
            <a:ext cx="11582400" cy="523220"/>
          </a:xfrm>
        </p:spPr>
        <p:txBody>
          <a:bodyPr anchor="ctr"/>
          <a:lstStyle>
            <a:lvl1pPr algn="l">
              <a:spcBef>
                <a:spcPts val="100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5600" y="5771630"/>
            <a:ext cx="2386040" cy="5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4913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12196387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accent2"/>
                </a:solidFill>
                <a:latin typeface="+mn-lt"/>
              </a:rPr>
              <a:t>Visa Confidentia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316992" y="3124302"/>
            <a:ext cx="11582400" cy="609399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47800" y="6616704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2"/>
                </a:solidFill>
                <a:latin typeface="+mn-lt"/>
              </a:rPr>
              <a:pPr algn="l"/>
              <a:t>‹#›</a:t>
            </a:fld>
            <a:endParaRPr lang="en-US" sz="70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8"/>
          <a:stretch/>
        </p:blipFill>
        <p:spPr>
          <a:xfrm>
            <a:off x="11067992" y="250522"/>
            <a:ext cx="974283" cy="23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2069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7994" y="250521"/>
            <a:ext cx="975361" cy="237744"/>
          </a:xfrm>
          <a:prstGeom prst="rect">
            <a:avLst/>
          </a:prstGeom>
        </p:spPr>
      </p:pic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Visa Confidentia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316992" y="3124302"/>
            <a:ext cx="11606784" cy="609399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552265" y="6616704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|  Presentation Title  |  Month XX,</a:t>
            </a:r>
            <a:r>
              <a:rPr lang="en-US" sz="700" baseline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 Year</a:t>
            </a:r>
            <a:endParaRPr lang="en-US" sz="70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347800" y="6616704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pPr algn="l"/>
              <a:t>‹#›</a:t>
            </a:fld>
            <a:endParaRPr lang="en-US" sz="70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00682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gray">
          <a:xfrm>
            <a:off x="5761776" y="6616704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>
                <a:solidFill>
                  <a:srgbClr val="5C5C5C"/>
                </a:solidFill>
              </a:rPr>
              <a:t>Visa Confidential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321589" y="3438145"/>
            <a:ext cx="5065011" cy="366255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10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8675" y="3187829"/>
            <a:ext cx="2252552" cy="549060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>
          <a:xfrm>
            <a:off x="9178682" y="2674776"/>
            <a:ext cx="3013316" cy="454637"/>
            <a:chOff x="9687151" y="3306297"/>
            <a:chExt cx="1711639" cy="454637"/>
          </a:xfrm>
        </p:grpSpPr>
        <p:sp>
          <p:nvSpPr>
            <p:cNvPr id="20" name="Rectangle 21"/>
            <p:cNvSpPr>
              <a:spLocks noChangeArrowheads="1"/>
            </p:cNvSpPr>
            <p:nvPr/>
          </p:nvSpPr>
          <p:spPr bwMode="gray">
            <a:xfrm>
              <a:off x="10325876" y="3462208"/>
              <a:ext cx="1072914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gray">
            <a:xfrm>
              <a:off x="9687151" y="3306297"/>
              <a:ext cx="1034868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gray">
            <a:xfrm>
              <a:off x="10325876" y="3459434"/>
              <a:ext cx="396143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7446469" y="1617484"/>
            <a:ext cx="3400436" cy="451865"/>
            <a:chOff x="7916736" y="-1399562"/>
            <a:chExt cx="2550327" cy="451865"/>
          </a:xfrm>
        </p:grpSpPr>
        <p:sp>
          <p:nvSpPr>
            <p:cNvPr id="25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905000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gray">
            <a:xfrm>
              <a:off x="7916736" y="-1399562"/>
              <a:ext cx="1764690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119363" cy="147489"/>
            </a:xfrm>
            <a:prstGeom prst="rect">
              <a:avLst/>
            </a:prstGeom>
            <a:gradFill flip="none" rotWithShape="1">
              <a:gsLst>
                <a:gs pos="0">
                  <a:srgbClr val="FFCB00"/>
                </a:gs>
                <a:gs pos="100000">
                  <a:srgbClr val="FBE1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sz="180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28" name="Rectangle 21"/>
          <p:cNvSpPr>
            <a:spLocks noChangeArrowheads="1"/>
          </p:cNvSpPr>
          <p:nvPr userDrawn="1"/>
        </p:nvSpPr>
        <p:spPr bwMode="gray">
          <a:xfrm>
            <a:off x="6817483" y="4336891"/>
            <a:ext cx="2361197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1"/>
          <p:cNvSpPr>
            <a:spLocks noChangeArrowheads="1"/>
          </p:cNvSpPr>
          <p:nvPr userDrawn="1"/>
        </p:nvSpPr>
        <p:spPr bwMode="gray">
          <a:xfrm>
            <a:off x="9799387" y="3431471"/>
            <a:ext cx="1967445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sz="180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gray">
          <a:xfrm>
            <a:off x="11000555" y="4034177"/>
            <a:ext cx="1191447" cy="300628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sz="180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098864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4" y="263526"/>
            <a:ext cx="11516784" cy="558166"/>
          </a:xfrm>
        </p:spPr>
        <p:txBody>
          <a:bodyPr/>
          <a:lstStyle>
            <a:lvl1pPr>
              <a:defRPr>
                <a:solidFill>
                  <a:srgbClr val="1A1F7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Visa Europe Secret</a:t>
            </a: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FAE64A-D17C-4CD5-9128-A40528F2E9B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368304" y="906463"/>
            <a:ext cx="11516784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25217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09347"/>
            <a:ext cx="11582400" cy="221406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487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84.xml"/><Relationship Id="rId34" Type="http://schemas.openxmlformats.org/officeDocument/2006/relationships/slideLayout" Target="../slideLayouts/slideLayout97.xml"/><Relationship Id="rId42" Type="http://schemas.openxmlformats.org/officeDocument/2006/relationships/slideLayout" Target="../slideLayouts/slideLayout105.xml"/><Relationship Id="rId47" Type="http://schemas.openxmlformats.org/officeDocument/2006/relationships/slideLayout" Target="../slideLayouts/slideLayout110.xml"/><Relationship Id="rId50" Type="http://schemas.openxmlformats.org/officeDocument/2006/relationships/slideLayout" Target="../slideLayouts/slideLayout113.xml"/><Relationship Id="rId55" Type="http://schemas.openxmlformats.org/officeDocument/2006/relationships/slideLayout" Target="../slideLayouts/slideLayout118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slideLayout" Target="../slideLayouts/slideLayout100.xml"/><Relationship Id="rId40" Type="http://schemas.openxmlformats.org/officeDocument/2006/relationships/slideLayout" Target="../slideLayouts/slideLayout103.xml"/><Relationship Id="rId45" Type="http://schemas.openxmlformats.org/officeDocument/2006/relationships/slideLayout" Target="../slideLayouts/slideLayout108.xml"/><Relationship Id="rId53" Type="http://schemas.openxmlformats.org/officeDocument/2006/relationships/slideLayout" Target="../slideLayouts/slideLayout116.xml"/><Relationship Id="rId58" Type="http://schemas.openxmlformats.org/officeDocument/2006/relationships/slideLayout" Target="../slideLayouts/slideLayout121.xml"/><Relationship Id="rId66" Type="http://schemas.openxmlformats.org/officeDocument/2006/relationships/image" Target="../media/image12.png"/><Relationship Id="rId5" Type="http://schemas.openxmlformats.org/officeDocument/2006/relationships/slideLayout" Target="../slideLayouts/slideLayout68.xml"/><Relationship Id="rId61" Type="http://schemas.openxmlformats.org/officeDocument/2006/relationships/theme" Target="../theme/theme4.xml"/><Relationship Id="rId1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8.xml"/><Relationship Id="rId43" Type="http://schemas.openxmlformats.org/officeDocument/2006/relationships/slideLayout" Target="../slideLayouts/slideLayout106.xml"/><Relationship Id="rId48" Type="http://schemas.openxmlformats.org/officeDocument/2006/relationships/slideLayout" Target="../slideLayouts/slideLayout111.xml"/><Relationship Id="rId56" Type="http://schemas.openxmlformats.org/officeDocument/2006/relationships/slideLayout" Target="../slideLayouts/slideLayout119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71.xml"/><Relationship Id="rId51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38" Type="http://schemas.openxmlformats.org/officeDocument/2006/relationships/slideLayout" Target="../slideLayouts/slideLayout101.xml"/><Relationship Id="rId46" Type="http://schemas.openxmlformats.org/officeDocument/2006/relationships/slideLayout" Target="../slideLayouts/slideLayout109.xml"/><Relationship Id="rId59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104.xml"/><Relationship Id="rId54" Type="http://schemas.openxmlformats.org/officeDocument/2006/relationships/slideLayout" Target="../slideLayouts/slideLayout117.xml"/><Relationship Id="rId62" Type="http://schemas.openxmlformats.org/officeDocument/2006/relationships/vmlDrawing" Target="../drawings/vmlDrawing1.v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9.xml"/><Relationship Id="rId49" Type="http://schemas.openxmlformats.org/officeDocument/2006/relationships/slideLayout" Target="../slideLayouts/slideLayout112.xml"/><Relationship Id="rId57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94.xml"/><Relationship Id="rId44" Type="http://schemas.openxmlformats.org/officeDocument/2006/relationships/slideLayout" Target="../slideLayouts/slideLayout107.xml"/><Relationship Id="rId52" Type="http://schemas.openxmlformats.org/officeDocument/2006/relationships/slideLayout" Target="../slideLayouts/slideLayout115.xml"/><Relationship Id="rId60" Type="http://schemas.openxmlformats.org/officeDocument/2006/relationships/slideLayout" Target="../slideLayouts/slideLayout123.xml"/><Relationship Id="rId65" Type="http://schemas.openxmlformats.org/officeDocument/2006/relationships/image" Target="../media/image17.emf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10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image" Target="../media/image26.emf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128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127.xml"/><Relationship Id="rId9" Type="http://schemas.openxmlformats.org/officeDocument/2006/relationships/vmlDrawing" Target="../drawings/vmlDrawing10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image" Target="../media/image26.emf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135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34.xml"/><Relationship Id="rId9" Type="http://schemas.openxmlformats.org/officeDocument/2006/relationships/vmlDrawing" Target="../drawings/vmlDrawing14.v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58.xml"/><Relationship Id="rId42" Type="http://schemas.openxmlformats.org/officeDocument/2006/relationships/slideLayout" Target="../slideLayouts/slideLayout179.xml"/><Relationship Id="rId47" Type="http://schemas.openxmlformats.org/officeDocument/2006/relationships/slideLayout" Target="../slideLayouts/slideLayout184.xml"/><Relationship Id="rId63" Type="http://schemas.openxmlformats.org/officeDocument/2006/relationships/slideLayout" Target="../slideLayouts/slideLayout200.xml"/><Relationship Id="rId68" Type="http://schemas.openxmlformats.org/officeDocument/2006/relationships/image" Target="../media/image17.emf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slideLayout" Target="../slideLayouts/slideLayout182.xml"/><Relationship Id="rId53" Type="http://schemas.openxmlformats.org/officeDocument/2006/relationships/slideLayout" Target="../slideLayouts/slideLayout190.xml"/><Relationship Id="rId58" Type="http://schemas.openxmlformats.org/officeDocument/2006/relationships/slideLayout" Target="../slideLayouts/slideLayout195.xml"/><Relationship Id="rId66" Type="http://schemas.openxmlformats.org/officeDocument/2006/relationships/tags" Target="../tags/tag35.xml"/><Relationship Id="rId5" Type="http://schemas.openxmlformats.org/officeDocument/2006/relationships/slideLayout" Target="../slideLayouts/slideLayout142.xml"/><Relationship Id="rId61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slideLayout" Target="../slideLayouts/slideLayout180.xml"/><Relationship Id="rId48" Type="http://schemas.openxmlformats.org/officeDocument/2006/relationships/slideLayout" Target="../slideLayouts/slideLayout185.xml"/><Relationship Id="rId56" Type="http://schemas.openxmlformats.org/officeDocument/2006/relationships/slideLayout" Target="../slideLayouts/slideLayout193.xml"/><Relationship Id="rId64" Type="http://schemas.openxmlformats.org/officeDocument/2006/relationships/theme" Target="../theme/theme7.xml"/><Relationship Id="rId69" Type="http://schemas.openxmlformats.org/officeDocument/2006/relationships/image" Target="../media/image12.png"/><Relationship Id="rId8" Type="http://schemas.openxmlformats.org/officeDocument/2006/relationships/slideLayout" Target="../slideLayouts/slideLayout145.xml"/><Relationship Id="rId51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46" Type="http://schemas.openxmlformats.org/officeDocument/2006/relationships/slideLayout" Target="../slideLayouts/slideLayout183.xml"/><Relationship Id="rId59" Type="http://schemas.openxmlformats.org/officeDocument/2006/relationships/slideLayout" Target="../slideLayouts/slideLayout196.xml"/><Relationship Id="rId67" Type="http://schemas.openxmlformats.org/officeDocument/2006/relationships/oleObject" Target="../embeddings/oleObject18.bin"/><Relationship Id="rId20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78.xml"/><Relationship Id="rId54" Type="http://schemas.openxmlformats.org/officeDocument/2006/relationships/slideLayout" Target="../slideLayouts/slideLayout191.xml"/><Relationship Id="rId6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49" Type="http://schemas.openxmlformats.org/officeDocument/2006/relationships/slideLayout" Target="../slideLayouts/slideLayout186.xml"/><Relationship Id="rId57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68.xml"/><Relationship Id="rId44" Type="http://schemas.openxmlformats.org/officeDocument/2006/relationships/slideLayout" Target="../slideLayouts/slideLayout181.xml"/><Relationship Id="rId52" Type="http://schemas.openxmlformats.org/officeDocument/2006/relationships/slideLayout" Target="../slideLayouts/slideLayout189.xml"/><Relationship Id="rId60" Type="http://schemas.openxmlformats.org/officeDocument/2006/relationships/slideLayout" Target="../slideLayouts/slideLayout197.xml"/><Relationship Id="rId65" Type="http://schemas.openxmlformats.org/officeDocument/2006/relationships/vmlDrawing" Target="../drawings/vmlDrawing18.v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76.xml"/><Relationship Id="rId34" Type="http://schemas.openxmlformats.org/officeDocument/2006/relationships/slideLayout" Target="../slideLayouts/slideLayout171.xml"/><Relationship Id="rId50" Type="http://schemas.openxmlformats.org/officeDocument/2006/relationships/slideLayout" Target="../slideLayouts/slideLayout187.xml"/><Relationship Id="rId55" Type="http://schemas.openxmlformats.org/officeDocument/2006/relationships/slideLayout" Target="../slideLayouts/slideLayout192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21.xml"/><Relationship Id="rId34" Type="http://schemas.openxmlformats.org/officeDocument/2006/relationships/slideLayout" Target="../slideLayouts/slideLayout234.xml"/><Relationship Id="rId42" Type="http://schemas.openxmlformats.org/officeDocument/2006/relationships/slideLayout" Target="../slideLayouts/slideLayout242.xml"/><Relationship Id="rId47" Type="http://schemas.openxmlformats.org/officeDocument/2006/relationships/slideLayout" Target="../slideLayouts/slideLayout247.xml"/><Relationship Id="rId50" Type="http://schemas.openxmlformats.org/officeDocument/2006/relationships/slideLayout" Target="../slideLayouts/slideLayout250.xml"/><Relationship Id="rId55" Type="http://schemas.openxmlformats.org/officeDocument/2006/relationships/slideLayout" Target="../slideLayouts/slideLayout255.xml"/><Relationship Id="rId63" Type="http://schemas.openxmlformats.org/officeDocument/2006/relationships/vmlDrawing" Target="../drawings/vmlDrawing27.vml"/><Relationship Id="rId7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237.xml"/><Relationship Id="rId40" Type="http://schemas.openxmlformats.org/officeDocument/2006/relationships/slideLayout" Target="../slideLayouts/slideLayout240.xml"/><Relationship Id="rId45" Type="http://schemas.openxmlformats.org/officeDocument/2006/relationships/slideLayout" Target="../slideLayouts/slideLayout245.xml"/><Relationship Id="rId53" Type="http://schemas.openxmlformats.org/officeDocument/2006/relationships/slideLayout" Target="../slideLayouts/slideLayout253.xml"/><Relationship Id="rId58" Type="http://schemas.openxmlformats.org/officeDocument/2006/relationships/slideLayout" Target="../slideLayouts/slideLayout258.xml"/><Relationship Id="rId66" Type="http://schemas.openxmlformats.org/officeDocument/2006/relationships/image" Target="../media/image17.emf"/><Relationship Id="rId5" Type="http://schemas.openxmlformats.org/officeDocument/2006/relationships/slideLayout" Target="../slideLayouts/slideLayout205.xml"/><Relationship Id="rId61" Type="http://schemas.openxmlformats.org/officeDocument/2006/relationships/slideLayout" Target="../slideLayouts/slideLayout261.xml"/><Relationship Id="rId1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227.xml"/><Relationship Id="rId30" Type="http://schemas.openxmlformats.org/officeDocument/2006/relationships/slideLayout" Target="../slideLayouts/slideLayout230.xml"/><Relationship Id="rId35" Type="http://schemas.openxmlformats.org/officeDocument/2006/relationships/slideLayout" Target="../slideLayouts/slideLayout235.xml"/><Relationship Id="rId43" Type="http://schemas.openxmlformats.org/officeDocument/2006/relationships/slideLayout" Target="../slideLayouts/slideLayout243.xml"/><Relationship Id="rId48" Type="http://schemas.openxmlformats.org/officeDocument/2006/relationships/slideLayout" Target="../slideLayouts/slideLayout248.xml"/><Relationship Id="rId56" Type="http://schemas.openxmlformats.org/officeDocument/2006/relationships/slideLayout" Target="../slideLayouts/slideLayout256.xml"/><Relationship Id="rId64" Type="http://schemas.openxmlformats.org/officeDocument/2006/relationships/tags" Target="../tags/tag44.xml"/><Relationship Id="rId8" Type="http://schemas.openxmlformats.org/officeDocument/2006/relationships/slideLayout" Target="../slideLayouts/slideLayout208.xml"/><Relationship Id="rId51" Type="http://schemas.openxmlformats.org/officeDocument/2006/relationships/slideLayout" Target="../slideLayouts/slideLayout251.xml"/><Relationship Id="rId3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25.xml"/><Relationship Id="rId33" Type="http://schemas.openxmlformats.org/officeDocument/2006/relationships/slideLayout" Target="../slideLayouts/slideLayout233.xml"/><Relationship Id="rId38" Type="http://schemas.openxmlformats.org/officeDocument/2006/relationships/slideLayout" Target="../slideLayouts/slideLayout238.xml"/><Relationship Id="rId46" Type="http://schemas.openxmlformats.org/officeDocument/2006/relationships/slideLayout" Target="../slideLayouts/slideLayout246.xml"/><Relationship Id="rId59" Type="http://schemas.openxmlformats.org/officeDocument/2006/relationships/slideLayout" Target="../slideLayouts/slideLayout259.xml"/><Relationship Id="rId67" Type="http://schemas.openxmlformats.org/officeDocument/2006/relationships/image" Target="../media/image12.png"/><Relationship Id="rId20" Type="http://schemas.openxmlformats.org/officeDocument/2006/relationships/slideLayout" Target="../slideLayouts/slideLayout220.xml"/><Relationship Id="rId41" Type="http://schemas.openxmlformats.org/officeDocument/2006/relationships/slideLayout" Target="../slideLayouts/slideLayout241.xml"/><Relationship Id="rId54" Type="http://schemas.openxmlformats.org/officeDocument/2006/relationships/slideLayout" Target="../slideLayouts/slideLayout254.xml"/><Relationship Id="rId62" Type="http://schemas.openxmlformats.org/officeDocument/2006/relationships/theme" Target="../theme/theme8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36.xml"/><Relationship Id="rId49" Type="http://schemas.openxmlformats.org/officeDocument/2006/relationships/slideLayout" Target="../slideLayouts/slideLayout249.xml"/><Relationship Id="rId57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10.xml"/><Relationship Id="rId31" Type="http://schemas.openxmlformats.org/officeDocument/2006/relationships/slideLayout" Target="../slideLayouts/slideLayout231.xml"/><Relationship Id="rId44" Type="http://schemas.openxmlformats.org/officeDocument/2006/relationships/slideLayout" Target="../slideLayouts/slideLayout244.xml"/><Relationship Id="rId52" Type="http://schemas.openxmlformats.org/officeDocument/2006/relationships/slideLayout" Target="../slideLayouts/slideLayout252.xml"/><Relationship Id="rId60" Type="http://schemas.openxmlformats.org/officeDocument/2006/relationships/slideLayout" Target="../slideLayouts/slideLayout260.xml"/><Relationship Id="rId65" Type="http://schemas.openxmlformats.org/officeDocument/2006/relationships/oleObject" Target="../embeddings/oleObject27.bin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39" Type="http://schemas.openxmlformats.org/officeDocument/2006/relationships/slideLayout" Target="../slideLayouts/slideLayout2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063432-F824-4448-9568-88243C010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1256264" cy="762000"/>
          </a:xfrm>
          <a:prstGeom prst="rect">
            <a:avLst/>
          </a:prstGeom>
        </p:spPr>
        <p:txBody>
          <a:bodyPr vert="horz" wrap="square" lIns="0" tIns="0" rIns="0" bIns="9144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98462B-90BD-4066-ABA8-8C7B0D55BD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5993" y="1584651"/>
            <a:ext cx="11254153" cy="45728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h</a:t>
            </a:r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4833F65B-69E4-4F58-93D9-A5562A8A08CB}"/>
              </a:ext>
            </a:extLst>
          </p:cNvPr>
          <p:cNvSpPr>
            <a:spLocks noEditPoints="1"/>
          </p:cNvSpPr>
          <p:nvPr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91EBE22-9072-4C69-A7DE-EF807BDA9EFE}"/>
              </a:ext>
            </a:extLst>
          </p:cNvPr>
          <p:cNvSpPr/>
          <p:nvPr/>
        </p:nvSpPr>
        <p:spPr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bg2"/>
                </a:solidFill>
              </a:rPr>
              <a:t>Visa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D4374B-9BBD-4B64-AA80-1BA949443D36}"/>
              </a:ext>
            </a:extLst>
          </p:cNvPr>
          <p:cNvSpPr txBox="1">
            <a:spLocks/>
          </p:cNvSpPr>
          <p:nvPr/>
        </p:nvSpPr>
        <p:spPr>
          <a:xfrm>
            <a:off x="454270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397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962" r:id="rId16"/>
    <p:sldLayoutId id="2147483967" r:id="rId17"/>
    <p:sldLayoutId id="2147483990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600"/>
        </a:spcBef>
        <a:buFont typeface="Arial" panose="020B0604020202020204" pitchFamily="34" charset="0"/>
        <a:buChar char="​"/>
        <a:defRPr sz="2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200"/>
        </a:spcAft>
        <a:buFont typeface="Segoe UI" panose="020B0502040204020203" pitchFamily="34" charset="0"/>
        <a:buChar char="​"/>
        <a:defRPr sz="18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8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1600"/>
        </a:spcBef>
        <a:buFont typeface="Arial" panose="020B0604020202020204" pitchFamily="34" charset="0"/>
        <a:buChar char="​"/>
        <a:defRPr sz="2000" b="1" kern="100" spc="-30" baseline="0">
          <a:solidFill>
            <a:schemeClr val="accent4"/>
          </a:solidFill>
          <a:latin typeface="+mn-lt"/>
          <a:ea typeface="+mn-ea"/>
          <a:cs typeface="+mn-cs"/>
        </a:defRPr>
      </a:lvl5pPr>
      <a:lvl6pPr marL="171450" indent="-17145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•"/>
        <a:defRPr lang="en-US" sz="1600" kern="1200" dirty="0">
          <a:solidFill>
            <a:schemeClr val="accent3"/>
          </a:solidFill>
          <a:latin typeface="+mn-lt"/>
          <a:ea typeface="+mn-ea"/>
          <a:cs typeface="+mn-cs"/>
        </a:defRPr>
      </a:lvl6pPr>
      <a:lvl7pPr marL="169863" indent="-1698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>
          <a:solidFill>
            <a:schemeClr val="accent3"/>
          </a:solidFill>
          <a:latin typeface="+mn-lt"/>
          <a:ea typeface="+mn-ea"/>
          <a:cs typeface="+mn-cs"/>
        </a:defRPr>
      </a:lvl7pPr>
      <a:lvl8pPr marL="3444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>
          <a:solidFill>
            <a:schemeClr val="accent3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500"/>
        </a:spcAft>
        <a:buFont typeface="Segoe UI" panose="020B0502040204020203" pitchFamily="34" charset="0"/>
        <a:buChar char="​"/>
        <a:defRPr sz="3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3" orient="horz" pos="2160">
          <p15:clr>
            <a:srgbClr val="F26B43"/>
          </p15:clr>
        </p15:guide>
        <p15:guide id="5" pos="7200">
          <p15:clr>
            <a:srgbClr val="F26B43"/>
          </p15:clr>
        </p15:guide>
        <p15:guide id="6" pos="480">
          <p15:clr>
            <a:srgbClr val="F26B43"/>
          </p15:clr>
        </p15:guide>
        <p15:guide id="7" orient="horz" pos="4080">
          <p15:clr>
            <a:srgbClr val="F26B43"/>
          </p15:clr>
        </p15:guide>
        <p15:guide id="9" orient="horz" pos="720">
          <p15:clr>
            <a:srgbClr val="F26B43"/>
          </p15:clr>
        </p15:guide>
        <p15:guide id="10" orient="horz" pos="96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3840">
          <p15:clr>
            <a:srgbClr val="F26B43"/>
          </p15:clr>
        </p15:guide>
        <p15:guide id="13" pos="2160">
          <p15:clr>
            <a:srgbClr val="F26B43"/>
          </p15:clr>
        </p15:guide>
        <p15:guide id="14" pos="5520">
          <p15:clr>
            <a:srgbClr val="F26B43"/>
          </p15:clr>
        </p15:guide>
        <p15:guide id="15" orient="horz" pos="2880">
          <p15:clr>
            <a:srgbClr val="F26B43"/>
          </p15:clr>
        </p15:guide>
        <p15:guide id="17" orient="horz" pos="2640">
          <p15:clr>
            <a:srgbClr val="F26B43"/>
          </p15:clr>
        </p15:guide>
        <p15:guide id="18" orient="horz" pos="2400">
          <p15:clr>
            <a:srgbClr val="F26B43"/>
          </p15:clr>
        </p15:guide>
        <p15:guide id="21" orient="horz" pos="1920">
          <p15:clr>
            <a:srgbClr val="F26B43"/>
          </p15:clr>
        </p15:guide>
        <p15:guide id="22" orient="horz" pos="1200">
          <p15:clr>
            <a:srgbClr val="F26B43"/>
          </p15:clr>
        </p15:guide>
        <p15:guide id="23" orient="horz" pos="3120">
          <p15:clr>
            <a:srgbClr val="F26B43"/>
          </p15:clr>
        </p15:guide>
        <p15:guide id="24" orient="horz" pos="3360">
          <p15:clr>
            <a:srgbClr val="F26B43"/>
          </p15:clr>
        </p15:guide>
        <p15:guide id="25" orient="horz" pos="3600">
          <p15:clr>
            <a:srgbClr val="F26B43"/>
          </p15:clr>
        </p15:guide>
        <p15:guide id="26" orient="horz" pos="1680">
          <p15:clr>
            <a:srgbClr val="F26B43"/>
          </p15:clr>
        </p15:guide>
        <p15:guide id="27" orient="horz" pos="1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063432-F824-4448-9568-88243C010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  <a:prstGeom prst="rect">
            <a:avLst/>
          </a:prstGeom>
        </p:spPr>
        <p:txBody>
          <a:bodyPr vert="horz" wrap="square" lIns="0" tIns="0" rIns="0" bIns="9144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98462B-90BD-4066-ABA8-8C7B0D55BD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5993" y="1524001"/>
            <a:ext cx="11254153" cy="4571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4833F65B-69E4-4F58-93D9-A5562A8A08CB}"/>
              </a:ext>
            </a:extLst>
          </p:cNvPr>
          <p:cNvSpPr>
            <a:spLocks noEditPoints="1"/>
          </p:cNvSpPr>
          <p:nvPr/>
        </p:nvSpPr>
        <p:spPr bwMode="auto">
          <a:xfrm>
            <a:off x="11134620" y="6293364"/>
            <a:ext cx="582961" cy="188400"/>
          </a:xfrm>
          <a:custGeom>
            <a:avLst/>
            <a:gdLst>
              <a:gd name="T0" fmla="*/ 2342 w 6168"/>
              <a:gd name="T1" fmla="*/ 35 h 1992"/>
              <a:gd name="T2" fmla="*/ 1534 w 6168"/>
              <a:gd name="T3" fmla="*/ 1962 h 1992"/>
              <a:gd name="T4" fmla="*/ 1007 w 6168"/>
              <a:gd name="T5" fmla="*/ 1962 h 1992"/>
              <a:gd name="T6" fmla="*/ 610 w 6168"/>
              <a:gd name="T7" fmla="*/ 424 h 1992"/>
              <a:gd name="T8" fmla="*/ 491 w 6168"/>
              <a:gd name="T9" fmla="*/ 255 h 1992"/>
              <a:gd name="T10" fmla="*/ 0 w 6168"/>
              <a:gd name="T11" fmla="*/ 91 h 1992"/>
              <a:gd name="T12" fmla="*/ 11 w 6168"/>
              <a:gd name="T13" fmla="*/ 35 h 1992"/>
              <a:gd name="T14" fmla="*/ 860 w 6168"/>
              <a:gd name="T15" fmla="*/ 35 h 1992"/>
              <a:gd name="T16" fmla="*/ 1089 w 6168"/>
              <a:gd name="T17" fmla="*/ 232 h 1992"/>
              <a:gd name="T18" fmla="*/ 1299 w 6168"/>
              <a:gd name="T19" fmla="*/ 1346 h 1992"/>
              <a:gd name="T20" fmla="*/ 1818 w 6168"/>
              <a:gd name="T21" fmla="*/ 35 h 1992"/>
              <a:gd name="T22" fmla="*/ 2342 w 6168"/>
              <a:gd name="T23" fmla="*/ 35 h 1992"/>
              <a:gd name="T24" fmla="*/ 4406 w 6168"/>
              <a:gd name="T25" fmla="*/ 1333 h 1992"/>
              <a:gd name="T26" fmla="*/ 3708 w 6168"/>
              <a:gd name="T27" fmla="*/ 569 h 1992"/>
              <a:gd name="T28" fmla="*/ 3919 w 6168"/>
              <a:gd name="T29" fmla="*/ 408 h 1992"/>
              <a:gd name="T30" fmla="*/ 4410 w 6168"/>
              <a:gd name="T31" fmla="*/ 494 h 1992"/>
              <a:gd name="T32" fmla="*/ 4498 w 6168"/>
              <a:gd name="T33" fmla="*/ 85 h 1992"/>
              <a:gd name="T34" fmla="*/ 4032 w 6168"/>
              <a:gd name="T35" fmla="*/ 0 h 1992"/>
              <a:gd name="T36" fmla="*/ 3189 w 6168"/>
              <a:gd name="T37" fmla="*/ 637 h 1992"/>
              <a:gd name="T38" fmla="*/ 3626 w 6168"/>
              <a:gd name="T39" fmla="*/ 1161 h 1992"/>
              <a:gd name="T40" fmla="*/ 3884 w 6168"/>
              <a:gd name="T41" fmla="*/ 1401 h 1992"/>
              <a:gd name="T42" fmla="*/ 3586 w 6168"/>
              <a:gd name="T43" fmla="*/ 1589 h 1992"/>
              <a:gd name="T44" fmla="*/ 3074 w 6168"/>
              <a:gd name="T45" fmla="*/ 1467 h 1992"/>
              <a:gd name="T46" fmla="*/ 2984 w 6168"/>
              <a:gd name="T47" fmla="*/ 1890 h 1992"/>
              <a:gd name="T48" fmla="*/ 3538 w 6168"/>
              <a:gd name="T49" fmla="*/ 1992 h 1992"/>
              <a:gd name="T50" fmla="*/ 4406 w 6168"/>
              <a:gd name="T51" fmla="*/ 1333 h 1992"/>
              <a:gd name="T52" fmla="*/ 5707 w 6168"/>
              <a:gd name="T53" fmla="*/ 1962 h 1992"/>
              <a:gd name="T54" fmla="*/ 6168 w 6168"/>
              <a:gd name="T55" fmla="*/ 1962 h 1992"/>
              <a:gd name="T56" fmla="*/ 5765 w 6168"/>
              <a:gd name="T57" fmla="*/ 35 h 1992"/>
              <a:gd name="T58" fmla="*/ 5340 w 6168"/>
              <a:gd name="T59" fmla="*/ 35 h 1992"/>
              <a:gd name="T60" fmla="*/ 5128 w 6168"/>
              <a:gd name="T61" fmla="*/ 176 h 1992"/>
              <a:gd name="T62" fmla="*/ 4380 w 6168"/>
              <a:gd name="T63" fmla="*/ 1962 h 1992"/>
              <a:gd name="T64" fmla="*/ 4903 w 6168"/>
              <a:gd name="T65" fmla="*/ 1962 h 1992"/>
              <a:gd name="T66" fmla="*/ 5007 w 6168"/>
              <a:gd name="T67" fmla="*/ 1674 h 1992"/>
              <a:gd name="T68" fmla="*/ 5647 w 6168"/>
              <a:gd name="T69" fmla="*/ 1674 h 1992"/>
              <a:gd name="T70" fmla="*/ 5707 w 6168"/>
              <a:gd name="T71" fmla="*/ 1962 h 1992"/>
              <a:gd name="T72" fmla="*/ 5151 w 6168"/>
              <a:gd name="T73" fmla="*/ 1279 h 1992"/>
              <a:gd name="T74" fmla="*/ 5413 w 6168"/>
              <a:gd name="T75" fmla="*/ 556 h 1992"/>
              <a:gd name="T76" fmla="*/ 5564 w 6168"/>
              <a:gd name="T77" fmla="*/ 1279 h 1992"/>
              <a:gd name="T78" fmla="*/ 5151 w 6168"/>
              <a:gd name="T79" fmla="*/ 1279 h 1992"/>
              <a:gd name="T80" fmla="*/ 3054 w 6168"/>
              <a:gd name="T81" fmla="*/ 35 h 1992"/>
              <a:gd name="T82" fmla="*/ 2642 w 6168"/>
              <a:gd name="T83" fmla="*/ 1962 h 1992"/>
              <a:gd name="T84" fmla="*/ 2143 w 6168"/>
              <a:gd name="T85" fmla="*/ 1962 h 1992"/>
              <a:gd name="T86" fmla="*/ 2555 w 6168"/>
              <a:gd name="T87" fmla="*/ 35 h 1992"/>
              <a:gd name="T88" fmla="*/ 3054 w 6168"/>
              <a:gd name="T89" fmla="*/ 35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168" h="1992">
                <a:moveTo>
                  <a:pt x="2342" y="35"/>
                </a:moveTo>
                <a:cubicBezTo>
                  <a:pt x="1534" y="1962"/>
                  <a:pt x="1534" y="1962"/>
                  <a:pt x="1534" y="1962"/>
                </a:cubicBezTo>
                <a:cubicBezTo>
                  <a:pt x="1007" y="1962"/>
                  <a:pt x="1007" y="1962"/>
                  <a:pt x="1007" y="1962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586" y="329"/>
                  <a:pt x="565" y="295"/>
                  <a:pt x="491" y="255"/>
                </a:cubicBezTo>
                <a:cubicBezTo>
                  <a:pt x="372" y="190"/>
                  <a:pt x="174" y="129"/>
                  <a:pt x="0" y="91"/>
                </a:cubicBezTo>
                <a:cubicBezTo>
                  <a:pt x="11" y="35"/>
                  <a:pt x="11" y="35"/>
                  <a:pt x="11" y="35"/>
                </a:cubicBezTo>
                <a:cubicBezTo>
                  <a:pt x="860" y="35"/>
                  <a:pt x="860" y="35"/>
                  <a:pt x="860" y="35"/>
                </a:cubicBezTo>
                <a:cubicBezTo>
                  <a:pt x="968" y="35"/>
                  <a:pt x="1065" y="107"/>
                  <a:pt x="1089" y="232"/>
                </a:cubicBezTo>
                <a:cubicBezTo>
                  <a:pt x="1299" y="1346"/>
                  <a:pt x="1299" y="1346"/>
                  <a:pt x="1299" y="1346"/>
                </a:cubicBezTo>
                <a:cubicBezTo>
                  <a:pt x="1818" y="35"/>
                  <a:pt x="1818" y="35"/>
                  <a:pt x="1818" y="35"/>
                </a:cubicBezTo>
                <a:lnTo>
                  <a:pt x="2342" y="35"/>
                </a:lnTo>
                <a:close/>
                <a:moveTo>
                  <a:pt x="4406" y="1333"/>
                </a:moveTo>
                <a:cubicBezTo>
                  <a:pt x="4408" y="824"/>
                  <a:pt x="3703" y="796"/>
                  <a:pt x="3708" y="569"/>
                </a:cubicBezTo>
                <a:cubicBezTo>
                  <a:pt x="3709" y="500"/>
                  <a:pt x="3775" y="426"/>
                  <a:pt x="3919" y="408"/>
                </a:cubicBezTo>
                <a:cubicBezTo>
                  <a:pt x="3990" y="398"/>
                  <a:pt x="4187" y="391"/>
                  <a:pt x="4410" y="494"/>
                </a:cubicBezTo>
                <a:cubicBezTo>
                  <a:pt x="4498" y="85"/>
                  <a:pt x="4498" y="85"/>
                  <a:pt x="4498" y="85"/>
                </a:cubicBezTo>
                <a:cubicBezTo>
                  <a:pt x="4378" y="42"/>
                  <a:pt x="4224" y="0"/>
                  <a:pt x="4032" y="0"/>
                </a:cubicBezTo>
                <a:cubicBezTo>
                  <a:pt x="3539" y="0"/>
                  <a:pt x="3192" y="262"/>
                  <a:pt x="3189" y="637"/>
                </a:cubicBezTo>
                <a:cubicBezTo>
                  <a:pt x="3186" y="914"/>
                  <a:pt x="3437" y="1069"/>
                  <a:pt x="3626" y="1161"/>
                </a:cubicBezTo>
                <a:cubicBezTo>
                  <a:pt x="3820" y="1255"/>
                  <a:pt x="3885" y="1316"/>
                  <a:pt x="3884" y="1401"/>
                </a:cubicBezTo>
                <a:cubicBezTo>
                  <a:pt x="3883" y="1530"/>
                  <a:pt x="3729" y="1587"/>
                  <a:pt x="3586" y="1589"/>
                </a:cubicBezTo>
                <a:cubicBezTo>
                  <a:pt x="3335" y="1593"/>
                  <a:pt x="3190" y="1521"/>
                  <a:pt x="3074" y="1467"/>
                </a:cubicBezTo>
                <a:cubicBezTo>
                  <a:pt x="2984" y="1890"/>
                  <a:pt x="2984" y="1890"/>
                  <a:pt x="2984" y="1890"/>
                </a:cubicBezTo>
                <a:cubicBezTo>
                  <a:pt x="3100" y="1943"/>
                  <a:pt x="3315" y="1990"/>
                  <a:pt x="3538" y="1992"/>
                </a:cubicBezTo>
                <a:cubicBezTo>
                  <a:pt x="4062" y="1992"/>
                  <a:pt x="4404" y="1733"/>
                  <a:pt x="4406" y="1333"/>
                </a:cubicBezTo>
                <a:moveTo>
                  <a:pt x="5707" y="1962"/>
                </a:moveTo>
                <a:cubicBezTo>
                  <a:pt x="6168" y="1962"/>
                  <a:pt x="6168" y="1962"/>
                  <a:pt x="6168" y="1962"/>
                </a:cubicBezTo>
                <a:cubicBezTo>
                  <a:pt x="5765" y="35"/>
                  <a:pt x="5765" y="35"/>
                  <a:pt x="5765" y="35"/>
                </a:cubicBezTo>
                <a:cubicBezTo>
                  <a:pt x="5340" y="35"/>
                  <a:pt x="5340" y="35"/>
                  <a:pt x="5340" y="35"/>
                </a:cubicBezTo>
                <a:cubicBezTo>
                  <a:pt x="5244" y="35"/>
                  <a:pt x="5163" y="91"/>
                  <a:pt x="5128" y="176"/>
                </a:cubicBezTo>
                <a:cubicBezTo>
                  <a:pt x="4380" y="1962"/>
                  <a:pt x="4380" y="1962"/>
                  <a:pt x="4380" y="1962"/>
                </a:cubicBezTo>
                <a:cubicBezTo>
                  <a:pt x="4903" y="1962"/>
                  <a:pt x="4903" y="1962"/>
                  <a:pt x="4903" y="1962"/>
                </a:cubicBezTo>
                <a:cubicBezTo>
                  <a:pt x="5007" y="1674"/>
                  <a:pt x="5007" y="1674"/>
                  <a:pt x="5007" y="1674"/>
                </a:cubicBezTo>
                <a:cubicBezTo>
                  <a:pt x="5647" y="1674"/>
                  <a:pt x="5647" y="1674"/>
                  <a:pt x="5647" y="1674"/>
                </a:cubicBezTo>
                <a:lnTo>
                  <a:pt x="5707" y="1962"/>
                </a:lnTo>
                <a:close/>
                <a:moveTo>
                  <a:pt x="5151" y="1279"/>
                </a:moveTo>
                <a:cubicBezTo>
                  <a:pt x="5413" y="556"/>
                  <a:pt x="5413" y="556"/>
                  <a:pt x="5413" y="556"/>
                </a:cubicBezTo>
                <a:cubicBezTo>
                  <a:pt x="5564" y="1279"/>
                  <a:pt x="5564" y="1279"/>
                  <a:pt x="5564" y="1279"/>
                </a:cubicBezTo>
                <a:lnTo>
                  <a:pt x="5151" y="1279"/>
                </a:lnTo>
                <a:close/>
                <a:moveTo>
                  <a:pt x="3054" y="35"/>
                </a:moveTo>
                <a:cubicBezTo>
                  <a:pt x="2642" y="1962"/>
                  <a:pt x="2642" y="1962"/>
                  <a:pt x="2642" y="1962"/>
                </a:cubicBezTo>
                <a:cubicBezTo>
                  <a:pt x="2143" y="1962"/>
                  <a:pt x="2143" y="1962"/>
                  <a:pt x="2143" y="1962"/>
                </a:cubicBezTo>
                <a:cubicBezTo>
                  <a:pt x="2555" y="35"/>
                  <a:pt x="2555" y="35"/>
                  <a:pt x="2555" y="35"/>
                </a:cubicBezTo>
                <a:lnTo>
                  <a:pt x="3054" y="3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91EBE22-9072-4C69-A7DE-EF807BDA9EFE}"/>
              </a:ext>
            </a:extLst>
          </p:cNvPr>
          <p:cNvSpPr/>
          <p:nvPr/>
        </p:nvSpPr>
        <p:spPr>
          <a:xfrm>
            <a:off x="8659216" y="6399074"/>
            <a:ext cx="2345673" cy="9695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1218804">
              <a:lnSpc>
                <a:spcPct val="90000"/>
              </a:lnSpc>
              <a:spcBef>
                <a:spcPts val="600"/>
              </a:spcBef>
            </a:pPr>
            <a:r>
              <a:rPr lang="en-US" sz="700">
                <a:solidFill>
                  <a:schemeClr val="bg2"/>
                </a:solidFill>
              </a:rPr>
              <a:t>©2018 Visa. All rights reserved. Visa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D4374B-9BBD-4B64-AA80-1BA949443D36}"/>
              </a:ext>
            </a:extLst>
          </p:cNvPr>
          <p:cNvSpPr txBox="1">
            <a:spLocks/>
          </p:cNvSpPr>
          <p:nvPr/>
        </p:nvSpPr>
        <p:spPr>
          <a:xfrm>
            <a:off x="454270" y="6312007"/>
            <a:ext cx="345440" cy="2026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846AAC-1057-44D9-8935-012247F85AEE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374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  <p:sldLayoutId id="2147483710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100000"/>
        </a:lnSpc>
        <a:spcBef>
          <a:spcPts val="1600"/>
        </a:spcBef>
        <a:buFont typeface="Arial" panose="020B0604020202020204" pitchFamily="34" charset="0"/>
        <a:buChar char="•"/>
        <a:defRPr sz="2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571500" indent="-225425" algn="l" defTabSz="914400" rtl="0" eaLnBrk="1" latinLnBrk="0" hangingPunct="1">
        <a:lnSpc>
          <a:spcPct val="90000"/>
        </a:lnSpc>
        <a:spcBef>
          <a:spcPts val="800"/>
        </a:spcBef>
        <a:spcAft>
          <a:spcPts val="200"/>
        </a:spcAft>
        <a:buClr>
          <a:schemeClr val="accent3"/>
        </a:buClr>
        <a:buFont typeface="Calibri" panose="020F0502020204030204" pitchFamily="34" charset="0"/>
        <a:buChar char="─"/>
        <a:defRPr sz="18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801688" indent="-176213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accent3"/>
        </a:buClr>
        <a:buFont typeface="Arial" panose="020B0604020202020204" pitchFamily="34" charset="0"/>
        <a:buChar char="•"/>
        <a:tabLst/>
        <a:defRPr sz="16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Tx/>
        <a:buNone/>
        <a:defRPr sz="2200" b="1" kern="1200">
          <a:solidFill>
            <a:schemeClr val="accent4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600"/>
        </a:spcBef>
        <a:buFont typeface="Arial" panose="020B0604020202020204" pitchFamily="34" charset="0"/>
        <a:buNone/>
        <a:defRPr lang="en-US" sz="2200" b="0" kern="1200" spc="-30" baseline="0" dirty="0">
          <a:solidFill>
            <a:schemeClr val="accent3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accent3"/>
          </a:solidFill>
          <a:latin typeface="+mn-lt"/>
          <a:ea typeface="+mn-ea"/>
          <a:cs typeface="+mn-cs"/>
        </a:defRPr>
      </a:lvl6pPr>
      <a:lvl7pPr marL="169863" indent="-1698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>
          <a:solidFill>
            <a:schemeClr val="accent3"/>
          </a:solidFill>
          <a:latin typeface="+mn-lt"/>
          <a:ea typeface="+mn-ea"/>
          <a:cs typeface="+mn-cs"/>
        </a:defRPr>
      </a:lvl7pPr>
      <a:lvl8pPr marL="3444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>
          <a:solidFill>
            <a:schemeClr val="accent3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500"/>
        </a:spcAft>
        <a:buFont typeface="Segoe UI" panose="020B0502040204020203" pitchFamily="34" charset="0"/>
        <a:buChar char="​"/>
        <a:defRPr sz="3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3" orient="horz" pos="2160">
          <p15:clr>
            <a:srgbClr val="F26B43"/>
          </p15:clr>
        </p15:guide>
        <p15:guide id="5" pos="7200">
          <p15:clr>
            <a:srgbClr val="F26B43"/>
          </p15:clr>
        </p15:guide>
        <p15:guide id="6" pos="480">
          <p15:clr>
            <a:srgbClr val="F26B43"/>
          </p15:clr>
        </p15:guide>
        <p15:guide id="7" orient="horz" pos="4080">
          <p15:clr>
            <a:srgbClr val="F26B43"/>
          </p15:clr>
        </p15:guide>
        <p15:guide id="9" orient="horz" pos="720">
          <p15:clr>
            <a:srgbClr val="F26B43"/>
          </p15:clr>
        </p15:guide>
        <p15:guide id="10" orient="horz" pos="96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3840">
          <p15:clr>
            <a:srgbClr val="F26B43"/>
          </p15:clr>
        </p15:guide>
        <p15:guide id="13" pos="2160">
          <p15:clr>
            <a:srgbClr val="F26B43"/>
          </p15:clr>
        </p15:guide>
        <p15:guide id="14" pos="5520">
          <p15:clr>
            <a:srgbClr val="F26B43"/>
          </p15:clr>
        </p15:guide>
        <p15:guide id="15" orient="horz" pos="2880">
          <p15:clr>
            <a:srgbClr val="F26B43"/>
          </p15:clr>
        </p15:guide>
        <p15:guide id="17" orient="horz" pos="2640">
          <p15:clr>
            <a:srgbClr val="F26B43"/>
          </p15:clr>
        </p15:guide>
        <p15:guide id="18" orient="horz" pos="2400">
          <p15:clr>
            <a:srgbClr val="F26B43"/>
          </p15:clr>
        </p15:guide>
        <p15:guide id="21" orient="horz" pos="1920">
          <p15:clr>
            <a:srgbClr val="F26B43"/>
          </p15:clr>
        </p15:guide>
        <p15:guide id="22" orient="horz" pos="1200">
          <p15:clr>
            <a:srgbClr val="F26B43"/>
          </p15:clr>
        </p15:guide>
        <p15:guide id="23" orient="horz" pos="3120">
          <p15:clr>
            <a:srgbClr val="F26B43"/>
          </p15:clr>
        </p15:guide>
        <p15:guide id="24" orient="horz" pos="3360">
          <p15:clr>
            <a:srgbClr val="F26B43"/>
          </p15:clr>
        </p15:guide>
        <p15:guide id="25" orient="horz" pos="3600">
          <p15:clr>
            <a:srgbClr val="F26B43"/>
          </p15:clr>
        </p15:guide>
        <p15:guide id="26" orient="horz" pos="1680">
          <p15:clr>
            <a:srgbClr val="F26B43"/>
          </p15:clr>
        </p15:guide>
        <p15:guide id="27" orient="horz" pos="14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4800" y="243840"/>
            <a:ext cx="10546080" cy="5581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5654373" y="6616703"/>
            <a:ext cx="883254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04800" y="1609345"/>
            <a:ext cx="11582400" cy="22310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484531" y="6616703"/>
            <a:ext cx="3839193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933">
                <a:solidFill>
                  <a:srgbClr val="5C5C5C"/>
                </a:solidFill>
              </a:rPr>
              <a:t>|  AI Powered Score Distribution Anomaly Detection System  |  April, 2018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304800" y="6616736"/>
            <a:ext cx="147476" cy="1435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933" smtClean="0">
                <a:solidFill>
                  <a:srgbClr val="5C5C5C"/>
                </a:solidFill>
              </a:rPr>
              <a:pPr/>
              <a:t>‹#›</a:t>
            </a:fld>
            <a:endParaRPr lang="en-US" sz="933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2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</p:sldLayoutIdLst>
  <p:txStyles>
    <p:titleStyle>
      <a:lvl1pPr algn="l" defTabSz="1219170" rtl="0" eaLnBrk="1" latinLnBrk="0" hangingPunct="1">
        <a:lnSpc>
          <a:spcPct val="85000"/>
        </a:lnSpc>
        <a:spcBef>
          <a:spcPct val="0"/>
        </a:spcBef>
        <a:buNone/>
        <a:defRPr sz="4267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02676" indent="-302676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200" kern="1200">
          <a:solidFill>
            <a:schemeClr val="bg2"/>
          </a:solidFill>
          <a:latin typeface="+mn-lt"/>
          <a:ea typeface="+mn-ea"/>
          <a:cs typeface="+mn-cs"/>
        </a:defRPr>
      </a:lvl1pPr>
      <a:lvl2pPr marL="759865" indent="-38310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933" kern="1200">
          <a:solidFill>
            <a:schemeClr val="bg2"/>
          </a:solidFill>
          <a:latin typeface="+mn-lt"/>
          <a:ea typeface="+mn-ea"/>
          <a:cs typeface="+mn-cs"/>
        </a:defRPr>
      </a:lvl2pPr>
      <a:lvl3pPr marL="1140855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3pPr>
      <a:lvl4pPr marL="1521846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667" kern="1200">
          <a:solidFill>
            <a:schemeClr val="bg2"/>
          </a:solidFill>
          <a:latin typeface="+mn-lt"/>
          <a:ea typeface="+mn-ea"/>
          <a:cs typeface="+mn-cs"/>
        </a:defRPr>
      </a:lvl4pPr>
      <a:lvl5pPr marL="1792179" indent="-23282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" name="think-cell Slide" r:id="rId64" imgW="359" imgH="360" progId="TCLayout.ActiveDocument.1">
                  <p:embed/>
                </p:oleObj>
              </mc:Choice>
              <mc:Fallback>
                <p:oleObj name="think-cell Slide" r:id="rId6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4800" y="243840"/>
            <a:ext cx="10546080" cy="5581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5654378" y="6616703"/>
            <a:ext cx="883254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04800" y="1609345"/>
            <a:ext cx="11582400" cy="22310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304800" y="6616736"/>
            <a:ext cx="147476" cy="1435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933" smtClean="0">
                <a:solidFill>
                  <a:srgbClr val="5C5C5C"/>
                </a:solidFill>
              </a:rPr>
              <a:pPr/>
              <a:t>‹#›</a:t>
            </a:fld>
            <a:endParaRPr lang="en-US" sz="933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160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  <p:sldLayoutId id="2147483758" r:id="rId32"/>
    <p:sldLayoutId id="2147483759" r:id="rId33"/>
    <p:sldLayoutId id="2147483760" r:id="rId34"/>
    <p:sldLayoutId id="2147483763" r:id="rId35"/>
    <p:sldLayoutId id="2147483764" r:id="rId36"/>
    <p:sldLayoutId id="2147483765" r:id="rId37"/>
    <p:sldLayoutId id="2147483766" r:id="rId38"/>
    <p:sldLayoutId id="2147483767" r:id="rId39"/>
    <p:sldLayoutId id="2147483768" r:id="rId40"/>
    <p:sldLayoutId id="2147483769" r:id="rId41"/>
    <p:sldLayoutId id="2147483770" r:id="rId42"/>
    <p:sldLayoutId id="2147483771" r:id="rId43"/>
    <p:sldLayoutId id="2147483772" r:id="rId44"/>
    <p:sldLayoutId id="2147483773" r:id="rId45"/>
    <p:sldLayoutId id="2147483774" r:id="rId46"/>
    <p:sldLayoutId id="2147483775" r:id="rId47"/>
    <p:sldLayoutId id="2147483776" r:id="rId48"/>
    <p:sldLayoutId id="2147483777" r:id="rId49"/>
    <p:sldLayoutId id="2147483778" r:id="rId50"/>
    <p:sldLayoutId id="2147483779" r:id="rId51"/>
    <p:sldLayoutId id="2147483780" r:id="rId52"/>
    <p:sldLayoutId id="2147483781" r:id="rId53"/>
    <p:sldLayoutId id="2147483782" r:id="rId54"/>
    <p:sldLayoutId id="2147483787" r:id="rId55"/>
    <p:sldLayoutId id="2147483788" r:id="rId56"/>
    <p:sldLayoutId id="2147483789" r:id="rId57"/>
    <p:sldLayoutId id="2147483791" r:id="rId58"/>
    <p:sldLayoutId id="2147483794" r:id="rId59"/>
    <p:sldLayoutId id="2147483796" r:id="rId60"/>
  </p:sldLayoutIdLst>
  <p:txStyles>
    <p:titleStyle>
      <a:lvl1pPr algn="l" defTabSz="1219170" rtl="0" eaLnBrk="1" latinLnBrk="0" hangingPunct="1">
        <a:lnSpc>
          <a:spcPct val="85000"/>
        </a:lnSpc>
        <a:spcBef>
          <a:spcPct val="0"/>
        </a:spcBef>
        <a:buNone/>
        <a:defRPr sz="4267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02676" indent="-302676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200" kern="1200">
          <a:solidFill>
            <a:schemeClr val="bg2"/>
          </a:solidFill>
          <a:latin typeface="+mn-lt"/>
          <a:ea typeface="+mn-ea"/>
          <a:cs typeface="+mn-cs"/>
        </a:defRPr>
      </a:lvl1pPr>
      <a:lvl2pPr marL="759865" indent="-38310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933" kern="1200">
          <a:solidFill>
            <a:schemeClr val="bg2"/>
          </a:solidFill>
          <a:latin typeface="+mn-lt"/>
          <a:ea typeface="+mn-ea"/>
          <a:cs typeface="+mn-cs"/>
        </a:defRPr>
      </a:lvl2pPr>
      <a:lvl3pPr marL="1140855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3pPr>
      <a:lvl4pPr marL="1521846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667" kern="1200">
          <a:solidFill>
            <a:schemeClr val="bg2"/>
          </a:solidFill>
          <a:latin typeface="+mn-lt"/>
          <a:ea typeface="+mn-ea"/>
          <a:cs typeface="+mn-cs"/>
        </a:defRPr>
      </a:lvl4pPr>
      <a:lvl5pPr marL="1792179" indent="-23282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726759-1239-4642-96C4-125584D1BB52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7726759-1239-4642-96C4-125584D1B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928831" y="6610645"/>
            <a:ext cx="60272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89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726759-1239-4642-96C4-125584D1BB52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7726759-1239-4642-96C4-125584D1B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326009" y="2057401"/>
            <a:ext cx="11521440" cy="136447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928832" y="6610646"/>
            <a:ext cx="60272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35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</p:sldLayoutIdLst>
  <p:hf sldNum="0" hdr="0" ftr="0" dt="0"/>
  <p:txStyles>
    <p:titleStyle>
      <a:lvl1pPr marL="0" indent="0" algn="l" defTabSz="914377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9996" indent="-179996" algn="l" defTabSz="914377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88" indent="-128013" algn="l" defTabSz="914377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588" indent="-179996" algn="l" defTabSz="914377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584" indent="-137157" algn="l" defTabSz="914377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381" indent="-136797" algn="l" defTabSz="914377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6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35" name="think-cell Slide" r:id="rId67" imgW="359" imgH="360" progId="TCLayout.ActiveDocument.1">
                  <p:embed/>
                </p:oleObj>
              </mc:Choice>
              <mc:Fallback>
                <p:oleObj name="think-cell Slide" r:id="rId67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4800" y="243840"/>
            <a:ext cx="10546080" cy="5581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5654378" y="6616703"/>
            <a:ext cx="883254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04800" y="1609345"/>
            <a:ext cx="11582400" cy="22310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304800" y="6616736"/>
            <a:ext cx="147476" cy="1435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933" smtClean="0">
                <a:solidFill>
                  <a:srgbClr val="5C5C5C"/>
                </a:solidFill>
              </a:rPr>
              <a:pPr/>
              <a:t>‹#›</a:t>
            </a:fld>
            <a:endParaRPr lang="en-US" sz="933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267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39" r:id="rId26"/>
    <p:sldLayoutId id="2147483840" r:id="rId27"/>
    <p:sldLayoutId id="2147483841" r:id="rId28"/>
    <p:sldLayoutId id="2147483842" r:id="rId29"/>
    <p:sldLayoutId id="2147483843" r:id="rId30"/>
    <p:sldLayoutId id="2147483844" r:id="rId31"/>
    <p:sldLayoutId id="2147483845" r:id="rId32"/>
    <p:sldLayoutId id="2147483846" r:id="rId33"/>
    <p:sldLayoutId id="2147483847" r:id="rId34"/>
    <p:sldLayoutId id="2147483850" r:id="rId35"/>
    <p:sldLayoutId id="2147483851" r:id="rId36"/>
    <p:sldLayoutId id="2147483852" r:id="rId37"/>
    <p:sldLayoutId id="2147483853" r:id="rId38"/>
    <p:sldLayoutId id="2147483854" r:id="rId39"/>
    <p:sldLayoutId id="2147483855" r:id="rId40"/>
    <p:sldLayoutId id="2147483856" r:id="rId41"/>
    <p:sldLayoutId id="2147483857" r:id="rId42"/>
    <p:sldLayoutId id="2147483858" r:id="rId43"/>
    <p:sldLayoutId id="2147483859" r:id="rId44"/>
    <p:sldLayoutId id="2147483860" r:id="rId45"/>
    <p:sldLayoutId id="2147483861" r:id="rId46"/>
    <p:sldLayoutId id="2147483862" r:id="rId47"/>
    <p:sldLayoutId id="2147483863" r:id="rId48"/>
    <p:sldLayoutId id="2147483864" r:id="rId49"/>
    <p:sldLayoutId id="2147483865" r:id="rId50"/>
    <p:sldLayoutId id="2147483866" r:id="rId51"/>
    <p:sldLayoutId id="2147483867" r:id="rId52"/>
    <p:sldLayoutId id="2147483868" r:id="rId53"/>
    <p:sldLayoutId id="2147483869" r:id="rId54"/>
    <p:sldLayoutId id="2147483870" r:id="rId55"/>
    <p:sldLayoutId id="2147483875" r:id="rId56"/>
    <p:sldLayoutId id="2147483876" r:id="rId57"/>
    <p:sldLayoutId id="2147483877" r:id="rId58"/>
    <p:sldLayoutId id="2147483878" r:id="rId59"/>
    <p:sldLayoutId id="2147483880" r:id="rId60"/>
    <p:sldLayoutId id="2147483881" r:id="rId61"/>
    <p:sldLayoutId id="2147483882" r:id="rId62"/>
    <p:sldLayoutId id="2147483883" r:id="rId63"/>
  </p:sldLayoutIdLst>
  <p:txStyles>
    <p:titleStyle>
      <a:lvl1pPr algn="l" defTabSz="1219170" rtl="0" eaLnBrk="1" latinLnBrk="0" hangingPunct="1">
        <a:lnSpc>
          <a:spcPct val="85000"/>
        </a:lnSpc>
        <a:spcBef>
          <a:spcPct val="0"/>
        </a:spcBef>
        <a:buNone/>
        <a:defRPr sz="4267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02676" indent="-302676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200" kern="1200">
          <a:solidFill>
            <a:schemeClr val="bg2"/>
          </a:solidFill>
          <a:latin typeface="+mn-lt"/>
          <a:ea typeface="+mn-ea"/>
          <a:cs typeface="+mn-cs"/>
        </a:defRPr>
      </a:lvl1pPr>
      <a:lvl2pPr marL="759865" indent="-38310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933" kern="1200">
          <a:solidFill>
            <a:schemeClr val="bg2"/>
          </a:solidFill>
          <a:latin typeface="+mn-lt"/>
          <a:ea typeface="+mn-ea"/>
          <a:cs typeface="+mn-cs"/>
        </a:defRPr>
      </a:lvl2pPr>
      <a:lvl3pPr marL="1140855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3pPr>
      <a:lvl4pPr marL="1521846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667" kern="1200">
          <a:solidFill>
            <a:schemeClr val="bg2"/>
          </a:solidFill>
          <a:latin typeface="+mn-lt"/>
          <a:ea typeface="+mn-ea"/>
          <a:cs typeface="+mn-cs"/>
        </a:defRPr>
      </a:lvl4pPr>
      <a:lvl5pPr marL="1792179" indent="-23282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4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51" name="think-cell Slide" r:id="rId65" imgW="359" imgH="360" progId="TCLayout.ActiveDocument.1">
                  <p:embed/>
                </p:oleObj>
              </mc:Choice>
              <mc:Fallback>
                <p:oleObj name="think-cell Slide" r:id="rId65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4800" y="243840"/>
            <a:ext cx="10546080" cy="55810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5654378" y="6616703"/>
            <a:ext cx="883254" cy="143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933">
                <a:solidFill>
                  <a:srgbClr val="5C5C5C"/>
                </a:solidFill>
              </a:rPr>
              <a:t>Visa Confidential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1098944" y="254770"/>
            <a:ext cx="902208" cy="293217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04800" y="1609345"/>
            <a:ext cx="11582400" cy="22310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304800" y="6616736"/>
            <a:ext cx="147476" cy="1435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933" smtClean="0">
                <a:solidFill>
                  <a:srgbClr val="5C5C5C"/>
                </a:solidFill>
              </a:rPr>
              <a:pPr/>
              <a:t>‹#›</a:t>
            </a:fld>
            <a:endParaRPr lang="en-US" sz="933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882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09" r:id="rId25"/>
    <p:sldLayoutId id="2147483910" r:id="rId26"/>
    <p:sldLayoutId id="2147483911" r:id="rId27"/>
    <p:sldLayoutId id="2147483912" r:id="rId28"/>
    <p:sldLayoutId id="2147483913" r:id="rId29"/>
    <p:sldLayoutId id="2147483914" r:id="rId30"/>
    <p:sldLayoutId id="2147483915" r:id="rId31"/>
    <p:sldLayoutId id="2147483916" r:id="rId32"/>
    <p:sldLayoutId id="2147483917" r:id="rId33"/>
    <p:sldLayoutId id="2147483918" r:id="rId34"/>
    <p:sldLayoutId id="2147483921" r:id="rId35"/>
    <p:sldLayoutId id="2147483922" r:id="rId36"/>
    <p:sldLayoutId id="2147483923" r:id="rId37"/>
    <p:sldLayoutId id="2147483924" r:id="rId38"/>
    <p:sldLayoutId id="2147483925" r:id="rId39"/>
    <p:sldLayoutId id="2147483926" r:id="rId40"/>
    <p:sldLayoutId id="2147483927" r:id="rId41"/>
    <p:sldLayoutId id="2147483928" r:id="rId42"/>
    <p:sldLayoutId id="2147483929" r:id="rId43"/>
    <p:sldLayoutId id="2147483930" r:id="rId44"/>
    <p:sldLayoutId id="2147483931" r:id="rId45"/>
    <p:sldLayoutId id="2147483932" r:id="rId46"/>
    <p:sldLayoutId id="2147483933" r:id="rId47"/>
    <p:sldLayoutId id="2147483934" r:id="rId48"/>
    <p:sldLayoutId id="2147483935" r:id="rId49"/>
    <p:sldLayoutId id="2147483936" r:id="rId50"/>
    <p:sldLayoutId id="2147483937" r:id="rId51"/>
    <p:sldLayoutId id="2147483938" r:id="rId52"/>
    <p:sldLayoutId id="2147483939" r:id="rId53"/>
    <p:sldLayoutId id="2147483940" r:id="rId54"/>
    <p:sldLayoutId id="2147483945" r:id="rId55"/>
    <p:sldLayoutId id="2147483946" r:id="rId56"/>
    <p:sldLayoutId id="2147483949" r:id="rId57"/>
    <p:sldLayoutId id="2147483951" r:id="rId58"/>
    <p:sldLayoutId id="2147483954" r:id="rId59"/>
    <p:sldLayoutId id="2147483956" r:id="rId60"/>
    <p:sldLayoutId id="2147483957" r:id="rId61"/>
  </p:sldLayoutIdLst>
  <p:txStyles>
    <p:titleStyle>
      <a:lvl1pPr algn="l" defTabSz="1219170" rtl="0" eaLnBrk="1" latinLnBrk="0" hangingPunct="1">
        <a:lnSpc>
          <a:spcPct val="85000"/>
        </a:lnSpc>
        <a:spcBef>
          <a:spcPct val="0"/>
        </a:spcBef>
        <a:buNone/>
        <a:defRPr sz="4267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02676" indent="-302676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200" kern="1200">
          <a:solidFill>
            <a:schemeClr val="bg2"/>
          </a:solidFill>
          <a:latin typeface="+mn-lt"/>
          <a:ea typeface="+mn-ea"/>
          <a:cs typeface="+mn-cs"/>
        </a:defRPr>
      </a:lvl1pPr>
      <a:lvl2pPr marL="759865" indent="-38310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933" kern="1200">
          <a:solidFill>
            <a:schemeClr val="bg2"/>
          </a:solidFill>
          <a:latin typeface="+mn-lt"/>
          <a:ea typeface="+mn-ea"/>
          <a:cs typeface="+mn-cs"/>
        </a:defRPr>
      </a:lvl2pPr>
      <a:lvl3pPr marL="1140855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3pPr>
      <a:lvl4pPr marL="1521846" indent="-302676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–"/>
        <a:defRPr sz="2667" kern="1200">
          <a:solidFill>
            <a:schemeClr val="bg2"/>
          </a:solidFill>
          <a:latin typeface="+mn-lt"/>
          <a:ea typeface="+mn-ea"/>
          <a:cs typeface="+mn-cs"/>
        </a:defRPr>
      </a:lvl4pPr>
      <a:lvl5pPr marL="1792179" indent="-232828" algn="l" defTabSz="121917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667" kern="1200">
          <a:solidFill>
            <a:schemeClr val="bg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B2266-96CC-B346-A504-381CD515A3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99" y="3366568"/>
            <a:ext cx="6922347" cy="535531"/>
          </a:xfrm>
        </p:spPr>
        <p:txBody>
          <a:bodyPr/>
          <a:lstStyle/>
          <a:p>
            <a:r>
              <a:rPr lang="en-US" dirty="0"/>
              <a:t>Syed </a:t>
            </a:r>
            <a:r>
              <a:rPr lang="en-US" dirty="0" err="1"/>
              <a:t>Javedhussain</a:t>
            </a:r>
            <a:r>
              <a:rPr lang="en-US" dirty="0"/>
              <a:t> - Feedbac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D164C9-41EE-B349-BF5A-A4225CF97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9" y="4139561"/>
            <a:ext cx="5486400" cy="332399"/>
          </a:xfrm>
        </p:spPr>
        <p:txBody>
          <a:bodyPr/>
          <a:lstStyle/>
          <a:p>
            <a:r>
              <a:rPr lang="en-US" sz="2000" b="0" dirty="0"/>
              <a:t>August  2021</a:t>
            </a:r>
          </a:p>
        </p:txBody>
      </p:sp>
      <p:sp>
        <p:nvSpPr>
          <p:cNvPr id="7" name="Rectangle 6"/>
          <p:cNvSpPr/>
          <p:nvPr/>
        </p:nvSpPr>
        <p:spPr>
          <a:xfrm>
            <a:off x="4688467" y="6224201"/>
            <a:ext cx="28150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200" b="1">
                <a:solidFill>
                  <a:schemeClr val="accent5"/>
                </a:solidFill>
              </a:rPr>
              <a:t>Visa 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74808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859A02B-22D3-9040-B9B5-A6EB930AC23F}"/>
              </a:ext>
            </a:extLst>
          </p:cNvPr>
          <p:cNvSpPr txBox="1">
            <a:spLocks/>
          </p:cNvSpPr>
          <p:nvPr/>
        </p:nvSpPr>
        <p:spPr>
          <a:xfrm>
            <a:off x="467868" y="1047450"/>
            <a:ext cx="10458305" cy="4390237"/>
          </a:xfrm>
          <a:prstGeom prst="rect">
            <a:avLst/>
          </a:prstGeom>
        </p:spPr>
        <p:txBody>
          <a:bodyPr/>
          <a:lstStyle>
            <a:lvl1pPr marL="268213" indent="-268213" algn="l" defTabSz="1219151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defRPr lang="en-US" sz="24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13809" indent="-306905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2133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77789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19151" indent="-302672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462981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666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42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17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93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dirty="0"/>
          </a:p>
          <a:p>
            <a:pPr marL="914389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</p:txBody>
      </p:sp>
      <p:pic>
        <p:nvPicPr>
          <p:cNvPr id="9" name="Picture 8" descr="Graphical user interface, text&#10;&#10;Description automatically generated with medium confidence">
            <a:extLst>
              <a:ext uri="{FF2B5EF4-FFF2-40B4-BE49-F238E27FC236}">
                <a16:creationId xmlns:a16="http://schemas.microsoft.com/office/drawing/2014/main" id="{5E2AF04D-2010-5341-9F97-A710C133D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45" y="1047450"/>
            <a:ext cx="10901109" cy="19731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4C5A6F-3247-494B-A571-9D74E6EFEB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8" y="4030717"/>
            <a:ext cx="11060302" cy="99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063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859A02B-22D3-9040-B9B5-A6EB930AC23F}"/>
              </a:ext>
            </a:extLst>
          </p:cNvPr>
          <p:cNvSpPr txBox="1">
            <a:spLocks/>
          </p:cNvSpPr>
          <p:nvPr/>
        </p:nvSpPr>
        <p:spPr>
          <a:xfrm>
            <a:off x="467868" y="1047450"/>
            <a:ext cx="10458305" cy="4390237"/>
          </a:xfrm>
          <a:prstGeom prst="rect">
            <a:avLst/>
          </a:prstGeom>
        </p:spPr>
        <p:txBody>
          <a:bodyPr/>
          <a:lstStyle>
            <a:lvl1pPr marL="268213" indent="-268213" algn="l" defTabSz="1219151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defRPr lang="en-US" sz="24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13809" indent="-306905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2133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77789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19151" indent="-302672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462981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666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42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17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93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dirty="0"/>
          </a:p>
          <a:p>
            <a:pPr marL="914389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7B3B03-31BA-0E49-9157-2028B01D6D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800" y="1316025"/>
            <a:ext cx="10178333" cy="1184574"/>
          </a:xfrm>
          <a:prstGeom prst="rect">
            <a:avLst/>
          </a:prstGeom>
        </p:spPr>
      </p:pic>
      <p:pic>
        <p:nvPicPr>
          <p:cNvPr id="7" name="Picture 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65246424-3045-5040-83E6-54D6447589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800" y="3468750"/>
            <a:ext cx="10178333" cy="207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317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859A02B-22D3-9040-B9B5-A6EB930AC23F}"/>
              </a:ext>
            </a:extLst>
          </p:cNvPr>
          <p:cNvSpPr txBox="1">
            <a:spLocks/>
          </p:cNvSpPr>
          <p:nvPr/>
        </p:nvSpPr>
        <p:spPr>
          <a:xfrm>
            <a:off x="467868" y="1047450"/>
            <a:ext cx="10458305" cy="4390237"/>
          </a:xfrm>
          <a:prstGeom prst="rect">
            <a:avLst/>
          </a:prstGeom>
        </p:spPr>
        <p:txBody>
          <a:bodyPr/>
          <a:lstStyle>
            <a:lvl1pPr marL="268213" indent="-268213" algn="l" defTabSz="1219151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defRPr lang="en-US" sz="24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13809" indent="-306905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2133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77789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19151" indent="-302672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462981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666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42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17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93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dirty="0"/>
          </a:p>
          <a:p>
            <a:pPr marL="914389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</p:txBody>
      </p:sp>
      <p:pic>
        <p:nvPicPr>
          <p:cNvPr id="3" name="Picture 2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4B7013D6-12C2-1D4A-B5E0-040EDDD9E8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69" y="606443"/>
            <a:ext cx="5046060" cy="2230710"/>
          </a:xfrm>
          <a:prstGeom prst="rect">
            <a:avLst/>
          </a:prstGeom>
        </p:spPr>
      </p:pic>
      <p:pic>
        <p:nvPicPr>
          <p:cNvPr id="6" name="Picture 5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120EBDD6-5DC7-DC4B-B23A-FFBFCEA170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6558" y="1047450"/>
            <a:ext cx="5046060" cy="2029827"/>
          </a:xfrm>
          <a:prstGeom prst="rect">
            <a:avLst/>
          </a:prstGeom>
        </p:spPr>
      </p:pic>
      <p:pic>
        <p:nvPicPr>
          <p:cNvPr id="8" name="Picture 7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72853E00-C840-BF4F-8567-8BF0F69B07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69" y="3278160"/>
            <a:ext cx="5206752" cy="2116709"/>
          </a:xfrm>
          <a:prstGeom prst="rect">
            <a:avLst/>
          </a:prstGeom>
        </p:spPr>
      </p:pic>
      <p:pic>
        <p:nvPicPr>
          <p:cNvPr id="11" name="Picture 10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644070A-D53C-124D-8148-6787A7EA4C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740" y="3538986"/>
            <a:ext cx="5054839" cy="273327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DE45AB1-BEC9-A941-B764-06A253BE8AF6}"/>
              </a:ext>
            </a:extLst>
          </p:cNvPr>
          <p:cNvCxnSpPr/>
          <p:nvPr/>
        </p:nvCxnSpPr>
        <p:spPr>
          <a:xfrm>
            <a:off x="5812634" y="459827"/>
            <a:ext cx="0" cy="5938345"/>
          </a:xfrm>
          <a:prstGeom prst="line">
            <a:avLst/>
          </a:prstGeom>
          <a:ln>
            <a:solidFill>
              <a:schemeClr val="accent1">
                <a:alpha val="15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410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859A02B-22D3-9040-B9B5-A6EB930AC23F}"/>
              </a:ext>
            </a:extLst>
          </p:cNvPr>
          <p:cNvSpPr txBox="1">
            <a:spLocks/>
          </p:cNvSpPr>
          <p:nvPr/>
        </p:nvSpPr>
        <p:spPr>
          <a:xfrm>
            <a:off x="467868" y="1047450"/>
            <a:ext cx="10458305" cy="4390237"/>
          </a:xfrm>
          <a:prstGeom prst="rect">
            <a:avLst/>
          </a:prstGeom>
        </p:spPr>
        <p:txBody>
          <a:bodyPr/>
          <a:lstStyle>
            <a:lvl1pPr marL="268213" indent="-268213" algn="l" defTabSz="1219151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defRPr lang="en-US" sz="24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13809" indent="-306905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2133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77789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19151" indent="-302672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–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462981" indent="-232824" algn="l" defTabSz="1219151" rtl="0" eaLnBrk="1" latinLnBrk="0" hangingPunct="1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 lang="en-US" sz="1867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666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42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17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93" indent="-304788" algn="l" defTabSz="1219151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dirty="0"/>
          </a:p>
          <a:p>
            <a:pPr marL="914389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CAA57EF8-8CFA-364B-B577-FEDF2AE42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8" y="779245"/>
            <a:ext cx="5046060" cy="2254744"/>
          </a:xfrm>
          <a:prstGeom prst="rect">
            <a:avLst/>
          </a:prstGeom>
        </p:spPr>
      </p:pic>
      <p:pic>
        <p:nvPicPr>
          <p:cNvPr id="10" name="Picture 9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D0F22837-AFFD-C14C-B72D-11AC72668E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8" y="3514232"/>
            <a:ext cx="5046061" cy="2403698"/>
          </a:xfrm>
          <a:prstGeom prst="rect">
            <a:avLst/>
          </a:prstGeom>
        </p:spPr>
      </p:pic>
      <p:pic>
        <p:nvPicPr>
          <p:cNvPr id="13" name="Picture 12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B3BE6A6A-8679-E648-997A-5309BE3FFC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796" y="2360495"/>
            <a:ext cx="5046060" cy="243485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08FAF0-4894-1C40-BC76-39BC6C8FEF47}"/>
              </a:ext>
            </a:extLst>
          </p:cNvPr>
          <p:cNvCxnSpPr/>
          <p:nvPr/>
        </p:nvCxnSpPr>
        <p:spPr>
          <a:xfrm>
            <a:off x="5812634" y="459827"/>
            <a:ext cx="0" cy="5938345"/>
          </a:xfrm>
          <a:prstGeom prst="line">
            <a:avLst/>
          </a:prstGeom>
          <a:ln>
            <a:solidFill>
              <a:schemeClr val="accent1">
                <a:alpha val="15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249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SA PRESENTATION THEME">
  <a:themeElements>
    <a:clrScheme name="Visa Template">
      <a:dk1>
        <a:sysClr val="windowText" lastClr="000000"/>
      </a:dk1>
      <a:lt1>
        <a:sysClr val="window" lastClr="FFFFFF"/>
      </a:lt1>
      <a:dk2>
        <a:srgbClr val="F0F0F0"/>
      </a:dk2>
      <a:lt2>
        <a:srgbClr val="ADADAD"/>
      </a:lt2>
      <a:accent1>
        <a:srgbClr val="1A1F71"/>
      </a:accent1>
      <a:accent2>
        <a:srgbClr val="F7B600"/>
      </a:accent2>
      <a:accent3>
        <a:srgbClr val="5C5C5C"/>
      </a:accent3>
      <a:accent4>
        <a:srgbClr val="003EA9"/>
      </a:accent4>
      <a:accent5>
        <a:srgbClr val="EF8400"/>
      </a:accent5>
      <a:accent6>
        <a:srgbClr val="FFD700"/>
      </a:accent6>
      <a:hlink>
        <a:srgbClr val="1A1F71"/>
      </a:hlink>
      <a:folHlink>
        <a:srgbClr val="ADADAD"/>
      </a:folHlink>
    </a:clrScheme>
    <a:fontScheme name="VISA Them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b="0" i="0" u="none" strike="noStrike" kern="1200" spc="0" baseline="0" dirty="0" smtClean="0">
            <a:solidFill>
              <a:prstClr val="black">
                <a:lumMod val="65000"/>
                <a:lumOff val="35000"/>
              </a:prstClr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Dark Blue A">
      <a:srgbClr val="1A1E5A"/>
    </a:custClr>
    <a:custClr name="Gold A">
      <a:srgbClr val="FA9B00"/>
    </a:custClr>
    <a:custClr name="Blue A">
      <a:srgbClr val="00329E"/>
    </a:custClr>
    <a:custClr name="Orange A">
      <a:srgbClr val="F26800"/>
    </a:custClr>
    <a:custClr name="Yellow A">
      <a:srgbClr val="FFCB00"/>
    </a:custClr>
    <a:custClr name="Gray A">
      <a:srgbClr val="5D5D5D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Blue B">
      <a:srgbClr val="122D98"/>
    </a:custClr>
    <a:custClr name="Gold B">
      <a:srgbClr val="F4CA12"/>
    </a:custClr>
    <a:custClr name="Blue B">
      <a:srgbClr val="0050B9"/>
    </a:custClr>
    <a:custClr name="Orange B">
      <a:srgbClr val="F09800"/>
    </a:custClr>
    <a:custClr name="Yellow B">
      <a:srgbClr val="FBFF12"/>
    </a:custClr>
    <a:custClr name="Gray B">
      <a:srgbClr val="ADADAD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VISA Theme">
  <a:themeElements>
    <a:clrScheme name="Visa Template">
      <a:dk1>
        <a:sysClr val="windowText" lastClr="000000"/>
      </a:dk1>
      <a:lt1>
        <a:sysClr val="window" lastClr="FFFFFF"/>
      </a:lt1>
      <a:dk2>
        <a:srgbClr val="F0F0F0"/>
      </a:dk2>
      <a:lt2>
        <a:srgbClr val="ADADAD"/>
      </a:lt2>
      <a:accent1>
        <a:srgbClr val="1A1F71"/>
      </a:accent1>
      <a:accent2>
        <a:srgbClr val="F7B600"/>
      </a:accent2>
      <a:accent3>
        <a:srgbClr val="5C5C5C"/>
      </a:accent3>
      <a:accent4>
        <a:srgbClr val="003EA9"/>
      </a:accent4>
      <a:accent5>
        <a:srgbClr val="EF8400"/>
      </a:accent5>
      <a:accent6>
        <a:srgbClr val="FFD700"/>
      </a:accent6>
      <a:hlink>
        <a:srgbClr val="1A1F71"/>
      </a:hlink>
      <a:folHlink>
        <a:srgbClr val="ADADAD"/>
      </a:folHlink>
    </a:clrScheme>
    <a:fontScheme name="VISA Them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b="0" i="0" u="none" strike="noStrike" kern="1200" spc="0" baseline="0" dirty="0" smtClean="0">
            <a:solidFill>
              <a:prstClr val="black">
                <a:lumMod val="65000"/>
                <a:lumOff val="35000"/>
              </a:prstClr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Dark Blue A">
      <a:srgbClr val="1A1E5A"/>
    </a:custClr>
    <a:custClr name="Gold A">
      <a:srgbClr val="FA9B00"/>
    </a:custClr>
    <a:custClr name="Blue A">
      <a:srgbClr val="00329E"/>
    </a:custClr>
    <a:custClr name="Orange A">
      <a:srgbClr val="F26800"/>
    </a:custClr>
    <a:custClr name="Yellow A">
      <a:srgbClr val="FFCB00"/>
    </a:custClr>
    <a:custClr name="Gray A">
      <a:srgbClr val="5D5D5D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Blue B">
      <a:srgbClr val="122D98"/>
    </a:custClr>
    <a:custClr name="Gold B">
      <a:srgbClr val="F4CA12"/>
    </a:custClr>
    <a:custClr name="Blue B">
      <a:srgbClr val="0050B9"/>
    </a:custClr>
    <a:custClr name="Orange B">
      <a:srgbClr val="F09800"/>
    </a:custClr>
    <a:custClr name="Yellow B">
      <a:srgbClr val="FBFF12"/>
    </a:custClr>
    <a:custClr name="Gray B">
      <a:srgbClr val="ADADAD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3.xml><?xml version="1.0" encoding="utf-8"?>
<a:theme xmlns:a="http://schemas.openxmlformats.org/drawingml/2006/main" name="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F6892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1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4.xml><?xml version="1.0" encoding="utf-8"?>
<a:theme xmlns:a="http://schemas.openxmlformats.org/drawingml/2006/main" name="Visa Event Presentation">
  <a:themeElements>
    <a:clrScheme name="Custom 1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000000"/>
      </a:hlink>
      <a:folHlink>
        <a:srgbClr val="0000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1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  <a:extLst>
    <a:ext uri="{05A4C25C-085E-4340-85A3-A5531E510DB2}">
      <thm15:themeFamily xmlns:thm15="http://schemas.microsoft.com/office/thememl/2012/main" name="Visa Event Presentation" id="{70898DEB-B4C4-4346-BD88-52B59535EC8F}" vid="{B8A1E798-504A-407C-825A-B32ACC1A2456}"/>
    </a:ext>
  </a:extLst>
</a:theme>
</file>

<file path=ppt/theme/theme5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FBEBCEE3-1022-4F32-AC16-8BB2216562FD}" vid="{39210153-E137-4C29-A70D-7987173B050B}"/>
    </a:ext>
  </a:extLst>
</a:theme>
</file>

<file path=ppt/theme/theme6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FBEBCEE3-1022-4F32-AC16-8BB2216562FD}" vid="{39210153-E137-4C29-A70D-7987173B050B}"/>
    </a:ext>
  </a:extLst>
</a:theme>
</file>

<file path=ppt/theme/theme7.xml><?xml version="1.0" encoding="utf-8"?>
<a:theme xmlns:a="http://schemas.openxmlformats.org/drawingml/2006/main" name="1_Visa Event Presentation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F6892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1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  <a:extLst>
    <a:ext uri="{05A4C25C-085E-4340-85A3-A5531E510DB2}">
      <thm15:themeFamily xmlns:thm15="http://schemas.microsoft.com/office/thememl/2012/main" name="Visa Event Presentation" id="{70898DEB-B4C4-4346-BD88-52B59535EC8F}" vid="{B8A1E798-504A-407C-825A-B32ACC1A2456}"/>
    </a:ext>
  </a:extLst>
</a:theme>
</file>

<file path=ppt/theme/theme8.xml><?xml version="1.0" encoding="utf-8"?>
<a:theme xmlns:a="http://schemas.openxmlformats.org/drawingml/2006/main" name="2_Visa Event Presentation">
  <a:themeElements>
    <a:clrScheme name="Custom 1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000000"/>
      </a:hlink>
      <a:folHlink>
        <a:srgbClr val="0000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1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  <a:extLst>
    <a:ext uri="{05A4C25C-085E-4340-85A3-A5531E510DB2}">
      <thm15:themeFamily xmlns:thm15="http://schemas.microsoft.com/office/thememl/2012/main" name="Visa Event Presentation" id="{70898DEB-B4C4-4346-BD88-52B59535EC8F}" vid="{B8A1E798-504A-407C-825A-B32ACC1A2456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0A3D3C31F1CF4C9A899EE909DB56B1" ma:contentTypeVersion="2" ma:contentTypeDescription="Create a new document." ma:contentTypeScope="" ma:versionID="ccff1aecd555c1acb8dbfbe7f1f901b7">
  <xsd:schema xmlns:xsd="http://www.w3.org/2001/XMLSchema" xmlns:xs="http://www.w3.org/2001/XMLSchema" xmlns:p="http://schemas.microsoft.com/office/2006/metadata/properties" xmlns:ns2="bf3f7156-5519-4521-8995-9e910963108e" targetNamespace="http://schemas.microsoft.com/office/2006/metadata/properties" ma:root="true" ma:fieldsID="225be513b934212ef756646c44103453" ns2:_="">
    <xsd:import namespace="bf3f7156-5519-4521-8995-9e91096310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f7156-5519-4521-8995-9e91096310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225C93-0B3E-487B-AC69-6DBEF20508C2}">
  <ds:schemaRefs>
    <ds:schemaRef ds:uri="http://purl.org/dc/dcmitype/"/>
    <ds:schemaRef ds:uri="http://schemas.microsoft.com/office/2006/documentManagement/types"/>
    <ds:schemaRef ds:uri="bf3f7156-5519-4521-8995-9e910963108e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EF03E98-51F6-4CF3-BDCC-60C387EE36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D36ACA-AE5C-4777-9ED1-C5E0D6088B02}">
  <ds:schemaRefs>
    <ds:schemaRef ds:uri="bf3f7156-5519-4521-8995-9e91096310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EO day deck on Data products v7</Template>
  <TotalTime>373</TotalTime>
  <Words>12</Words>
  <Application>Microsoft Macintosh PowerPoint</Application>
  <PresentationFormat>Widescreen</PresentationFormat>
  <Paragraphs>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Arial </vt:lpstr>
      <vt:lpstr>Calibri</vt:lpstr>
      <vt:lpstr>Segoe UI</vt:lpstr>
      <vt:lpstr>VISA PRESENTATION THEME</vt:lpstr>
      <vt:lpstr>VISA Theme</vt:lpstr>
      <vt:lpstr>Visa Event Template</vt:lpstr>
      <vt:lpstr>Visa Event Presentation</vt:lpstr>
      <vt:lpstr>Blank</vt:lpstr>
      <vt:lpstr>1_Blank</vt:lpstr>
      <vt:lpstr>1_Visa Event Presentation</vt:lpstr>
      <vt:lpstr>2_Visa Event Presentation</vt:lpstr>
      <vt:lpstr>think-cell Slide</vt:lpstr>
      <vt:lpstr>Syed Javedhussain - Feedbacks</vt:lpstr>
      <vt:lpstr>PowerPoint Presentation</vt:lpstr>
      <vt:lpstr>PowerPoint Presentation</vt:lpstr>
      <vt:lpstr>PowerPoint Presentation</vt:lpstr>
      <vt:lpstr>PowerPoint Presentation</vt:lpstr>
    </vt:vector>
  </TitlesOfParts>
  <Company>Visa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0 Roadmap - xxxxx</dc:title>
  <dc:creator>"Pulikara, Suresh" &lt;spulikar@visa.com&gt;</dc:creator>
  <cp:lastModifiedBy>Syed, Javedhussain</cp:lastModifiedBy>
  <cp:revision>114</cp:revision>
  <dcterms:created xsi:type="dcterms:W3CDTF">2019-05-29T05:11:56Z</dcterms:created>
  <dcterms:modified xsi:type="dcterms:W3CDTF">2021-08-16T15:4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0A3D3C31F1CF4C9A899EE909DB56B1</vt:lpwstr>
  </property>
</Properties>
</file>